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6" r:id="rId4"/>
    <p:sldMasterId id="2147483693" r:id="rId5"/>
    <p:sldMasterId id="2147483728" r:id="rId6"/>
    <p:sldMasterId id="2147483734" r:id="rId7"/>
  </p:sldMasterIdLst>
  <p:sldIdLst>
    <p:sldId id="2147471407" r:id="rId8"/>
    <p:sldId id="2147471402" r:id="rId9"/>
    <p:sldId id="2147471403" r:id="rId10"/>
    <p:sldId id="2147471405" r:id="rId11"/>
    <p:sldId id="2147471404" r:id="rId12"/>
    <p:sldId id="2147471401" r:id="rId13"/>
    <p:sldId id="2147471409" r:id="rId14"/>
    <p:sldId id="266" r:id="rId15"/>
    <p:sldId id="2147471394" r:id="rId16"/>
    <p:sldId id="2147471393" r:id="rId17"/>
    <p:sldId id="270" r:id="rId18"/>
    <p:sldId id="2147471410" r:id="rId19"/>
    <p:sldId id="267" r:id="rId20"/>
    <p:sldId id="2147471408" r:id="rId21"/>
    <p:sldId id="2147471396" r:id="rId22"/>
    <p:sldId id="273" r:id="rId23"/>
    <p:sldId id="269" r:id="rId24"/>
    <p:sldId id="278" r:id="rId25"/>
    <p:sldId id="268" r:id="rId26"/>
    <p:sldId id="256" r:id="rId27"/>
    <p:sldId id="2147471397" r:id="rId28"/>
    <p:sldId id="276" r:id="rId29"/>
    <p:sldId id="275" r:id="rId30"/>
    <p:sldId id="271" r:id="rId31"/>
    <p:sldId id="277" r:id="rId32"/>
    <p:sldId id="272" r:id="rId33"/>
    <p:sldId id="264" r:id="rId34"/>
    <p:sldId id="2147471372" r:id="rId35"/>
    <p:sldId id="2147471387" r:id="rId36"/>
    <p:sldId id="2147471381" r:id="rId37"/>
    <p:sldId id="2147471382" r:id="rId38"/>
    <p:sldId id="2147471383" r:id="rId39"/>
    <p:sldId id="2147471384" r:id="rId40"/>
    <p:sldId id="2147471385" r:id="rId41"/>
    <p:sldId id="2147471386" r:id="rId42"/>
    <p:sldId id="2147471389" r:id="rId43"/>
    <p:sldId id="265" r:id="rId44"/>
    <p:sldId id="2147471398" r:id="rId45"/>
    <p:sldId id="263" r:id="rId46"/>
    <p:sldId id="257" r:id="rId47"/>
    <p:sldId id="2147471390" r:id="rId48"/>
    <p:sldId id="2147471391" r:id="rId49"/>
    <p:sldId id="2147471399" r:id="rId50"/>
    <p:sldId id="279"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C215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76DB3F-9BF5-482E-8D4F-FA6260A74EF9}" v="186" dt="2023-05-16T13:53:00.514"/>
    <p1510:client id="{A74F8F00-6C69-420E-ADD3-50FAD861CD9E}" v="1" dt="2023-05-16T14:12:11.912"/>
    <p1510:client id="{CA8AD8FC-4E56-4320-B6BC-C7C06E8E55D5}" v="66" vWet="68" dt="2023-05-15T22:57:04.345"/>
    <p1510:client id="{FD84F3A5-AFC2-450F-890D-399A35841D5B}" v="133" vWet="135" dt="2023-05-16T12:59:23.62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47" d="100"/>
          <a:sy n="47" d="100"/>
        </p:scale>
        <p:origin x="1056" y="4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microsoft.com/office/2016/11/relationships/changesInfo" Target="changesInfos/changesInfo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z Cole" userId="be2bada6-d7a3-4113-9f7d-2c886958d3c6" providerId="ADAL" clId="{A74F8F00-6C69-420E-ADD3-50FAD861CD9E}"/>
    <pc:docChg chg="undo custSel addSld delSld modSld sldOrd">
      <pc:chgData name="Liz Cole" userId="be2bada6-d7a3-4113-9f7d-2c886958d3c6" providerId="ADAL" clId="{A74F8F00-6C69-420E-ADD3-50FAD861CD9E}" dt="2023-05-16T15:35:27.114" v="238" actId="14100"/>
      <pc:docMkLst>
        <pc:docMk/>
      </pc:docMkLst>
      <pc:sldChg chg="modSp del mod">
        <pc:chgData name="Liz Cole" userId="be2bada6-d7a3-4113-9f7d-2c886958d3c6" providerId="ADAL" clId="{A74F8F00-6C69-420E-ADD3-50FAD861CD9E}" dt="2023-05-16T15:01:56.185" v="43" actId="2696"/>
        <pc:sldMkLst>
          <pc:docMk/>
          <pc:sldMk cId="3186223520" sldId="2147471392"/>
        </pc:sldMkLst>
        <pc:spChg chg="mod">
          <ac:chgData name="Liz Cole" userId="be2bada6-d7a3-4113-9f7d-2c886958d3c6" providerId="ADAL" clId="{A74F8F00-6C69-420E-ADD3-50FAD861CD9E}" dt="2023-05-16T15:01:08.035" v="39" actId="1036"/>
          <ac:spMkLst>
            <pc:docMk/>
            <pc:sldMk cId="3186223520" sldId="2147471392"/>
            <ac:spMk id="10" creationId="{7C123359-7C73-5C0C-3883-B003884F02E2}"/>
          </ac:spMkLst>
        </pc:spChg>
      </pc:sldChg>
      <pc:sldChg chg="modSp mod">
        <pc:chgData name="Liz Cole" userId="be2bada6-d7a3-4113-9f7d-2c886958d3c6" providerId="ADAL" clId="{A74F8F00-6C69-420E-ADD3-50FAD861CD9E}" dt="2023-05-16T15:35:27.114" v="238" actId="14100"/>
        <pc:sldMkLst>
          <pc:docMk/>
          <pc:sldMk cId="904602255" sldId="2147471393"/>
        </pc:sldMkLst>
        <pc:spChg chg="mod">
          <ac:chgData name="Liz Cole" userId="be2bada6-d7a3-4113-9f7d-2c886958d3c6" providerId="ADAL" clId="{A74F8F00-6C69-420E-ADD3-50FAD861CD9E}" dt="2023-05-16T15:35:14.250" v="236" actId="20577"/>
          <ac:spMkLst>
            <pc:docMk/>
            <pc:sldMk cId="904602255" sldId="2147471393"/>
            <ac:spMk id="6" creationId="{3DF89D8B-DCA4-3F76-6E5B-FD1B002BDA17}"/>
          </ac:spMkLst>
        </pc:spChg>
        <pc:grpChg chg="mod">
          <ac:chgData name="Liz Cole" userId="be2bada6-d7a3-4113-9f7d-2c886958d3c6" providerId="ADAL" clId="{A74F8F00-6C69-420E-ADD3-50FAD861CD9E}" dt="2023-05-16T15:35:27.114" v="238" actId="14100"/>
          <ac:grpSpMkLst>
            <pc:docMk/>
            <pc:sldMk cId="904602255" sldId="2147471393"/>
            <ac:grpSpMk id="2" creationId="{4E0343EA-17A5-8309-6516-90A9F9278F90}"/>
          </ac:grpSpMkLst>
        </pc:grpChg>
      </pc:sldChg>
      <pc:sldChg chg="ord">
        <pc:chgData name="Liz Cole" userId="be2bada6-d7a3-4113-9f7d-2c886958d3c6" providerId="ADAL" clId="{A74F8F00-6C69-420E-ADD3-50FAD861CD9E}" dt="2023-05-16T15:02:01.651" v="45"/>
        <pc:sldMkLst>
          <pc:docMk/>
          <pc:sldMk cId="2393502165" sldId="2147471394"/>
        </pc:sldMkLst>
      </pc:sldChg>
      <pc:sldChg chg="add del">
        <pc:chgData name="Liz Cole" userId="be2bada6-d7a3-4113-9f7d-2c886958d3c6" providerId="ADAL" clId="{A74F8F00-6C69-420E-ADD3-50FAD861CD9E}" dt="2023-05-16T15:07:45.821" v="64" actId="2696"/>
        <pc:sldMkLst>
          <pc:docMk/>
          <pc:sldMk cId="3143043465" sldId="2147471395"/>
        </pc:sldMkLst>
      </pc:sldChg>
      <pc:sldChg chg="ord">
        <pc:chgData name="Liz Cole" userId="be2bada6-d7a3-4113-9f7d-2c886958d3c6" providerId="ADAL" clId="{A74F8F00-6C69-420E-ADD3-50FAD861CD9E}" dt="2023-05-16T15:23:24.527" v="69"/>
        <pc:sldMkLst>
          <pc:docMk/>
          <pc:sldMk cId="3505766270" sldId="2147471404"/>
        </pc:sldMkLst>
      </pc:sldChg>
      <pc:sldChg chg="delSp modSp add del mod">
        <pc:chgData name="Liz Cole" userId="be2bada6-d7a3-4113-9f7d-2c886958d3c6" providerId="ADAL" clId="{A74F8F00-6C69-420E-ADD3-50FAD861CD9E}" dt="2023-05-16T14:13:31.082" v="5" actId="2696"/>
        <pc:sldMkLst>
          <pc:docMk/>
          <pc:sldMk cId="696107665" sldId="2147471406"/>
        </pc:sldMkLst>
        <pc:spChg chg="del mod">
          <ac:chgData name="Liz Cole" userId="be2bada6-d7a3-4113-9f7d-2c886958d3c6" providerId="ADAL" clId="{A74F8F00-6C69-420E-ADD3-50FAD861CD9E}" dt="2023-05-16T14:12:33.938" v="4" actId="478"/>
          <ac:spMkLst>
            <pc:docMk/>
            <pc:sldMk cId="696107665" sldId="2147471406"/>
            <ac:spMk id="10" creationId="{7C123359-7C73-5C0C-3883-B003884F02E2}"/>
          </ac:spMkLst>
        </pc:spChg>
      </pc:sldChg>
      <pc:sldChg chg="delSp modSp add del mod">
        <pc:chgData name="Liz Cole" userId="be2bada6-d7a3-4113-9f7d-2c886958d3c6" providerId="ADAL" clId="{A74F8F00-6C69-420E-ADD3-50FAD861CD9E}" dt="2023-05-16T14:19:37.267" v="26" actId="2696"/>
        <pc:sldMkLst>
          <pc:docMk/>
          <pc:sldMk cId="2717045297" sldId="2147471406"/>
        </pc:sldMkLst>
        <pc:spChg chg="del mod">
          <ac:chgData name="Liz Cole" userId="be2bada6-d7a3-4113-9f7d-2c886958d3c6" providerId="ADAL" clId="{A74F8F00-6C69-420E-ADD3-50FAD861CD9E}" dt="2023-05-16T14:14:50.045" v="25"/>
          <ac:spMkLst>
            <pc:docMk/>
            <pc:sldMk cId="2717045297" sldId="2147471406"/>
            <ac:spMk id="10" creationId="{7C123359-7C73-5C0C-3883-B003884F02E2}"/>
          </ac:spMkLst>
        </pc:spChg>
      </pc:sldChg>
      <pc:sldChg chg="add del">
        <pc:chgData name="Liz Cole" userId="be2bada6-d7a3-4113-9f7d-2c886958d3c6" providerId="ADAL" clId="{A74F8F00-6C69-420E-ADD3-50FAD861CD9E}" dt="2023-05-16T15:02:18.276" v="50" actId="2696"/>
        <pc:sldMkLst>
          <pc:docMk/>
          <pc:sldMk cId="3350859151" sldId="2147471406"/>
        </pc:sldMkLst>
      </pc:sldChg>
      <pc:sldChg chg="add ord">
        <pc:chgData name="Liz Cole" userId="be2bada6-d7a3-4113-9f7d-2c886958d3c6" providerId="ADAL" clId="{A74F8F00-6C69-420E-ADD3-50FAD861CD9E}" dt="2023-05-16T15:02:26.328" v="53"/>
        <pc:sldMkLst>
          <pc:docMk/>
          <pc:sldMk cId="3772386452" sldId="2147471407"/>
        </pc:sldMkLst>
      </pc:sldChg>
      <pc:sldChg chg="add ord">
        <pc:chgData name="Liz Cole" userId="be2bada6-d7a3-4113-9f7d-2c886958d3c6" providerId="ADAL" clId="{A74F8F00-6C69-420E-ADD3-50FAD861CD9E}" dt="2023-05-16T15:07:08.355" v="63"/>
        <pc:sldMkLst>
          <pc:docMk/>
          <pc:sldMk cId="1917549776" sldId="2147471408"/>
        </pc:sldMkLst>
      </pc:sldChg>
      <pc:sldChg chg="add ord">
        <pc:chgData name="Liz Cole" userId="be2bada6-d7a3-4113-9f7d-2c886958d3c6" providerId="ADAL" clId="{A74F8F00-6C69-420E-ADD3-50FAD861CD9E}" dt="2023-05-16T15:02:34.609" v="57"/>
        <pc:sldMkLst>
          <pc:docMk/>
          <pc:sldMk cId="720686348" sldId="2147471409"/>
        </pc:sldMkLst>
      </pc:sldChg>
      <pc:sldChg chg="add ord">
        <pc:chgData name="Liz Cole" userId="be2bada6-d7a3-4113-9f7d-2c886958d3c6" providerId="ADAL" clId="{A74F8F00-6C69-420E-ADD3-50FAD861CD9E}" dt="2023-05-16T15:09:07.416" v="67"/>
        <pc:sldMkLst>
          <pc:docMk/>
          <pc:sldMk cId="527435608" sldId="2147471410"/>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07E8-448F-ACB1-0072634D0461}"/>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07E8-448F-ACB1-0072634D0461}"/>
            </c:ext>
          </c:extLst>
        </c:ser>
        <c:ser>
          <c:idx val="2"/>
          <c:order val="2"/>
          <c:tx>
            <c:strRef>
              <c:f>Sheet1!$D$1</c:f>
              <c:strCache>
                <c:ptCount val="1"/>
                <c:pt idx="0">
                  <c:v>Series 3</c:v>
                </c:pt>
              </c:strCache>
            </c:strRef>
          </c:tx>
          <c:spPr>
            <a:solidFill>
              <a:schemeClr val="accent3"/>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07E8-448F-ACB1-0072634D0461}"/>
            </c:ext>
          </c:extLst>
        </c:ser>
        <c:dLbls>
          <c:showLegendKey val="0"/>
          <c:showVal val="0"/>
          <c:showCatName val="0"/>
          <c:showSerName val="0"/>
          <c:showPercent val="0"/>
          <c:showBubbleSize val="0"/>
        </c:dLbls>
        <c:gapWidth val="219"/>
        <c:overlap val="-27"/>
        <c:axId val="1365178176"/>
        <c:axId val="1364501440"/>
      </c:barChart>
      <c:catAx>
        <c:axId val="13651781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00175A"/>
                </a:solidFill>
                <a:latin typeface="+mn-lt"/>
                <a:ea typeface="+mn-ea"/>
                <a:cs typeface="+mn-cs"/>
              </a:defRPr>
            </a:pPr>
            <a:endParaRPr lang="en-US"/>
          </a:p>
        </c:txPr>
        <c:crossAx val="1364501440"/>
        <c:crosses val="autoZero"/>
        <c:auto val="1"/>
        <c:lblAlgn val="ctr"/>
        <c:lblOffset val="100"/>
        <c:noMultiLvlLbl val="0"/>
      </c:catAx>
      <c:valAx>
        <c:axId val="13645014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00175A"/>
                </a:solidFill>
                <a:latin typeface="+mn-lt"/>
                <a:ea typeface="+mn-ea"/>
                <a:cs typeface="+mn-cs"/>
              </a:defRPr>
            </a:pPr>
            <a:endParaRPr lang="en-US"/>
          </a:p>
        </c:txPr>
        <c:crossAx val="13651781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0017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18.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Simple Grid Cover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60808E1-9889-EC4A-B3B0-85BFCEDDD837}"/>
              </a:ext>
            </a:extLst>
          </p:cNvPr>
          <p:cNvSpPr/>
          <p:nvPr/>
        </p:nvSpPr>
        <p:spPr>
          <a:xfrm>
            <a:off x="-1172" y="0"/>
            <a:ext cx="6096000" cy="6858000"/>
          </a:xfrm>
          <a:prstGeom prst="rect">
            <a:avLst/>
          </a:prstGeom>
          <a:solidFill>
            <a:srgbClr val="006F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4400" b="0" i="0">
              <a:solidFill>
                <a:schemeClr val="bg1"/>
              </a:solidFill>
              <a:latin typeface="Benton Sans Light" panose="02000404020000020004" pitchFamily="2" charset="77"/>
            </a:endParaRPr>
          </a:p>
        </p:txBody>
      </p:sp>
      <p:pic>
        <p:nvPicPr>
          <p:cNvPr id="16" name="Picture 15" descr="Background pattern&#10;&#10;Description automatically generated">
            <a:extLst>
              <a:ext uri="{FF2B5EF4-FFF2-40B4-BE49-F238E27FC236}">
                <a16:creationId xmlns:a16="http://schemas.microsoft.com/office/drawing/2014/main" id="{B0A496F5-565A-FC41-B52A-C055486058A7}"/>
              </a:ext>
            </a:extLst>
          </p:cNvPr>
          <p:cNvPicPr>
            <a:picLocks noChangeAspect="1"/>
          </p:cNvPicPr>
          <p:nvPr/>
        </p:nvPicPr>
        <p:blipFill rotWithShape="1">
          <a:blip r:embed="rId2"/>
          <a:srcRect l="6794" t="12190" r="58925" b="53530"/>
          <a:stretch/>
        </p:blipFill>
        <p:spPr>
          <a:xfrm>
            <a:off x="6055797" y="3429000"/>
            <a:ext cx="6149604" cy="3429000"/>
          </a:xfrm>
          <a:prstGeom prst="rect">
            <a:avLst/>
          </a:prstGeom>
        </p:spPr>
      </p:pic>
      <p:sp>
        <p:nvSpPr>
          <p:cNvPr id="19" name="Rectangle 18">
            <a:extLst>
              <a:ext uri="{FF2B5EF4-FFF2-40B4-BE49-F238E27FC236}">
                <a16:creationId xmlns:a16="http://schemas.microsoft.com/office/drawing/2014/main" id="{D1B7DC56-5FCB-534F-A31C-11334A9F8AE2}"/>
              </a:ext>
            </a:extLst>
          </p:cNvPr>
          <p:cNvSpPr/>
          <p:nvPr/>
        </p:nvSpPr>
        <p:spPr>
          <a:xfrm>
            <a:off x="6082598" y="0"/>
            <a:ext cx="6109401" cy="3429001"/>
          </a:xfrm>
          <a:prstGeom prst="rect">
            <a:avLst/>
          </a:prstGeom>
          <a:solidFill>
            <a:srgbClr val="0017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4400" b="0" i="0">
              <a:solidFill>
                <a:schemeClr val="bg1"/>
              </a:solidFill>
              <a:latin typeface="Benton Sans Light" panose="02000404020000020004" pitchFamily="2" charset="77"/>
            </a:endParaRPr>
          </a:p>
        </p:txBody>
      </p:sp>
      <p:sp>
        <p:nvSpPr>
          <p:cNvPr id="21" name="Content Placeholder 2">
            <a:extLst>
              <a:ext uri="{FF2B5EF4-FFF2-40B4-BE49-F238E27FC236}">
                <a16:creationId xmlns:a16="http://schemas.microsoft.com/office/drawing/2014/main" id="{FC2EF6B8-FC2D-D24F-BA37-196AAA90EB0F}"/>
              </a:ext>
            </a:extLst>
          </p:cNvPr>
          <p:cNvSpPr>
            <a:spLocks noGrp="1"/>
          </p:cNvSpPr>
          <p:nvPr>
            <p:ph sz="half" idx="1" hasCustomPrompt="1"/>
          </p:nvPr>
        </p:nvSpPr>
        <p:spPr>
          <a:xfrm>
            <a:off x="795371" y="5858156"/>
            <a:ext cx="4475205" cy="341632"/>
          </a:xfrm>
          <a:prstGeom prst="rect">
            <a:avLst/>
          </a:prstGeom>
        </p:spPr>
        <p:txBody>
          <a:bodyPr wrap="square">
            <a:spAutoFit/>
          </a:bodyPr>
          <a:lstStyle>
            <a:lvl1pPr marL="0" indent="0" algn="ctr">
              <a:buNone/>
              <a:defRPr sz="1800" b="0" i="0" spc="300">
                <a:solidFill>
                  <a:srgbClr val="00175A"/>
                </a:solidFill>
                <a:latin typeface="BentonSans Bold" panose="02000503000000020004" pitchFamily="2" charset="0"/>
              </a:defRPr>
            </a:lvl1pPr>
          </a:lstStyle>
          <a:p>
            <a:pPr lvl="0"/>
            <a:r>
              <a:rPr lang="en-US"/>
              <a:t>SUBHEADER OR DATE HERE</a:t>
            </a:r>
          </a:p>
        </p:txBody>
      </p:sp>
      <p:pic>
        <p:nvPicPr>
          <p:cNvPr id="8" name="Picture 7">
            <a:extLst>
              <a:ext uri="{FF2B5EF4-FFF2-40B4-BE49-F238E27FC236}">
                <a16:creationId xmlns:a16="http://schemas.microsoft.com/office/drawing/2014/main" id="{379E3BB7-08CA-B044-87B7-9B0FAE6B61D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286504" y="160547"/>
            <a:ext cx="2789502" cy="516573"/>
          </a:xfrm>
          <a:prstGeom prst="rect">
            <a:avLst/>
          </a:prstGeom>
        </p:spPr>
      </p:pic>
      <p:pic>
        <p:nvPicPr>
          <p:cNvPr id="10" name="Picture 9" descr="Logo&#10;&#10;Description automatically generated">
            <a:extLst>
              <a:ext uri="{FF2B5EF4-FFF2-40B4-BE49-F238E27FC236}">
                <a16:creationId xmlns:a16="http://schemas.microsoft.com/office/drawing/2014/main" id="{DFFC34E3-3C5C-D746-922F-C19B91442488}"/>
              </a:ext>
            </a:extLst>
          </p:cNvPr>
          <p:cNvPicPr>
            <a:picLocks noChangeAspect="1"/>
          </p:cNvPicPr>
          <p:nvPr/>
        </p:nvPicPr>
        <p:blipFill rotWithShape="1">
          <a:blip r:embed="rId4"/>
          <a:srcRect l="-2999" t="-1230" r="7667" b="-8226"/>
          <a:stretch/>
        </p:blipFill>
        <p:spPr>
          <a:xfrm>
            <a:off x="4987225" y="2626453"/>
            <a:ext cx="7204775" cy="1701478"/>
          </a:xfrm>
          <a:prstGeom prst="rect">
            <a:avLst/>
          </a:prstGeom>
        </p:spPr>
      </p:pic>
      <p:sp>
        <p:nvSpPr>
          <p:cNvPr id="11" name="Title 1">
            <a:extLst>
              <a:ext uri="{FF2B5EF4-FFF2-40B4-BE49-F238E27FC236}">
                <a16:creationId xmlns:a16="http://schemas.microsoft.com/office/drawing/2014/main" id="{5E246DAA-5087-4042-81A1-E6EEF45B7E7B}"/>
              </a:ext>
            </a:extLst>
          </p:cNvPr>
          <p:cNvSpPr>
            <a:spLocks noGrp="1"/>
          </p:cNvSpPr>
          <p:nvPr>
            <p:ph type="title" hasCustomPrompt="1"/>
          </p:nvPr>
        </p:nvSpPr>
        <p:spPr>
          <a:xfrm>
            <a:off x="795371" y="2151629"/>
            <a:ext cx="4475205" cy="1325563"/>
          </a:xfrm>
          <a:prstGeom prst="rect">
            <a:avLst/>
          </a:prstGeom>
        </p:spPr>
        <p:txBody>
          <a:bodyPr>
            <a:normAutofit/>
          </a:bodyPr>
          <a:lstStyle>
            <a:lvl1pPr algn="ctr">
              <a:defRPr sz="4400">
                <a:solidFill>
                  <a:schemeClr val="bg1"/>
                </a:solidFill>
                <a:latin typeface="+mj-lt"/>
              </a:defRPr>
            </a:lvl1pPr>
          </a:lstStyle>
          <a:p>
            <a:r>
              <a:rPr lang="en-US"/>
              <a:t>Click to add title</a:t>
            </a:r>
          </a:p>
        </p:txBody>
      </p:sp>
    </p:spTree>
    <p:extLst>
      <p:ext uri="{BB962C8B-B14F-4D97-AF65-F5344CB8AC3E}">
        <p14:creationId xmlns:p14="http://schemas.microsoft.com/office/powerpoint/2010/main" val="3424517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50 / 50">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B561EE9-8493-6648-A9D9-C9779731F05A}"/>
              </a:ext>
            </a:extLst>
          </p:cNvPr>
          <p:cNvSpPr/>
          <p:nvPr/>
        </p:nvSpPr>
        <p:spPr>
          <a:xfrm>
            <a:off x="0" y="0"/>
            <a:ext cx="6096000" cy="6858000"/>
          </a:xfrm>
          <a:prstGeom prst="rect">
            <a:avLst/>
          </a:prstGeom>
          <a:solidFill>
            <a:srgbClr val="006F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2">
            <a:extLst>
              <a:ext uri="{FF2B5EF4-FFF2-40B4-BE49-F238E27FC236}">
                <a16:creationId xmlns:a16="http://schemas.microsoft.com/office/drawing/2014/main" id="{C1CF89F2-5660-9D45-852F-B95AAA7065AD}"/>
              </a:ext>
            </a:extLst>
          </p:cNvPr>
          <p:cNvSpPr>
            <a:spLocks noGrp="1"/>
          </p:cNvSpPr>
          <p:nvPr>
            <p:ph sz="half" idx="1" hasCustomPrompt="1"/>
          </p:nvPr>
        </p:nvSpPr>
        <p:spPr>
          <a:xfrm>
            <a:off x="6370318" y="1708276"/>
            <a:ext cx="5357554" cy="365125"/>
          </a:xfrm>
          <a:prstGeom prst="rect">
            <a:avLst/>
          </a:prstGeom>
        </p:spPr>
        <p:txBody>
          <a:bodyPr/>
          <a:lstStyle>
            <a:lvl1pPr algn="l">
              <a:buNone/>
              <a:defRPr sz="2000" b="0" i="0" spc="300">
                <a:solidFill>
                  <a:srgbClr val="00175A"/>
                </a:solidFill>
                <a:latin typeface="BentonSans Bold" panose="02000503000000020004" pitchFamily="2" charset="0"/>
              </a:defRPr>
            </a:lvl1pPr>
          </a:lstStyle>
          <a:p>
            <a:pPr lvl="0"/>
            <a:r>
              <a:rPr lang="en-US"/>
              <a:t>SUBHEADER</a:t>
            </a:r>
          </a:p>
        </p:txBody>
      </p:sp>
      <p:sp>
        <p:nvSpPr>
          <p:cNvPr id="12" name="Content Placeholder 2">
            <a:extLst>
              <a:ext uri="{FF2B5EF4-FFF2-40B4-BE49-F238E27FC236}">
                <a16:creationId xmlns:a16="http://schemas.microsoft.com/office/drawing/2014/main" id="{6A002F7E-1B4E-2948-8475-B551AC54C2FA}"/>
              </a:ext>
            </a:extLst>
          </p:cNvPr>
          <p:cNvSpPr>
            <a:spLocks noGrp="1"/>
          </p:cNvSpPr>
          <p:nvPr>
            <p:ph sz="half" idx="13" hasCustomPrompt="1"/>
          </p:nvPr>
        </p:nvSpPr>
        <p:spPr>
          <a:xfrm>
            <a:off x="6370318" y="2190438"/>
            <a:ext cx="5357553" cy="4048875"/>
          </a:xfrm>
          <a:prstGeom prst="rect">
            <a:avLst/>
          </a:prstGeom>
        </p:spPr>
        <p:txBody>
          <a:bodyPr/>
          <a:lstStyle>
            <a:lvl1pPr algn="just">
              <a:buNone/>
              <a:defRPr sz="2000" b="0" i="0" spc="0">
                <a:solidFill>
                  <a:srgbClr val="00175A"/>
                </a:solidFill>
                <a:latin typeface="BentonSans Book" panose="02000503000000020004" pitchFamily="2" charset="0"/>
              </a:defRPr>
            </a:lvl1pPr>
          </a:lstStyle>
          <a:p>
            <a:pPr lvl="0"/>
            <a:r>
              <a:rPr lang="en-US"/>
              <a:t>Body Copy</a:t>
            </a:r>
          </a:p>
        </p:txBody>
      </p:sp>
      <p:sp>
        <p:nvSpPr>
          <p:cNvPr id="7" name="TextBox 6">
            <a:extLst>
              <a:ext uri="{FF2B5EF4-FFF2-40B4-BE49-F238E27FC236}">
                <a16:creationId xmlns:a16="http://schemas.microsoft.com/office/drawing/2014/main" id="{EBFABD77-4BE3-4D90-9D56-1E83FA1AE1DE}"/>
              </a:ext>
            </a:extLst>
          </p:cNvPr>
          <p:cNvSpPr txBox="1"/>
          <p:nvPr/>
        </p:nvSpPr>
        <p:spPr>
          <a:xfrm>
            <a:off x="781050" y="2125579"/>
            <a:ext cx="4533900" cy="584775"/>
          </a:xfrm>
          <a:prstGeom prst="rect">
            <a:avLst/>
          </a:prstGeom>
          <a:noFill/>
        </p:spPr>
        <p:txBody>
          <a:bodyPr wrap="square" rtlCol="0">
            <a:spAutoFit/>
          </a:bodyPr>
          <a:lstStyle/>
          <a:p>
            <a:pPr algn="ctr"/>
            <a:r>
              <a:rPr lang="en-US" sz="3200">
                <a:solidFill>
                  <a:schemeClr val="bg1"/>
                </a:solidFill>
                <a:latin typeface="BentonSans Light" panose="02000503000000020004" pitchFamily="2" charset="0"/>
              </a:rPr>
              <a:t>Highlighted Copy Here</a:t>
            </a:r>
          </a:p>
        </p:txBody>
      </p:sp>
      <p:sp>
        <p:nvSpPr>
          <p:cNvPr id="3" name="Title 2">
            <a:extLst>
              <a:ext uri="{FF2B5EF4-FFF2-40B4-BE49-F238E27FC236}">
                <a16:creationId xmlns:a16="http://schemas.microsoft.com/office/drawing/2014/main" id="{104745E3-C0E7-420F-819F-2D935FC2B3CF}"/>
              </a:ext>
            </a:extLst>
          </p:cNvPr>
          <p:cNvSpPr>
            <a:spLocks noGrp="1"/>
          </p:cNvSpPr>
          <p:nvPr>
            <p:ph type="title"/>
          </p:nvPr>
        </p:nvSpPr>
        <p:spPr>
          <a:xfrm>
            <a:off x="6370319" y="383380"/>
            <a:ext cx="5357554" cy="1207859"/>
          </a:xfrm>
        </p:spPr>
        <p:txBody>
          <a:bodyPr/>
          <a:lstStyle/>
          <a:p>
            <a:r>
              <a:rPr lang="en-US"/>
              <a:t>Click to edit Master title style</a:t>
            </a:r>
          </a:p>
        </p:txBody>
      </p:sp>
      <p:sp>
        <p:nvSpPr>
          <p:cNvPr id="8" name="Slide Number Placeholder 5">
            <a:extLst>
              <a:ext uri="{FF2B5EF4-FFF2-40B4-BE49-F238E27FC236}">
                <a16:creationId xmlns:a16="http://schemas.microsoft.com/office/drawing/2014/main" id="{D3153D42-40E2-450E-8C4E-2DFAAA98C23A}"/>
              </a:ext>
            </a:extLst>
          </p:cNvPr>
          <p:cNvSpPr>
            <a:spLocks noGrp="1"/>
          </p:cNvSpPr>
          <p:nvPr>
            <p:ph type="sldNum" sz="quarter" idx="16"/>
          </p:nvPr>
        </p:nvSpPr>
        <p:spPr>
          <a:xfrm>
            <a:off x="8984673" y="6356350"/>
            <a:ext cx="2743200" cy="365125"/>
          </a:xfrm>
          <a:prstGeom prst="rect">
            <a:avLst/>
          </a:prstGeom>
        </p:spPr>
        <p:txBody>
          <a:bodyPr/>
          <a:lstStyle/>
          <a:p>
            <a:fld id="{98A0C587-F233-4E5E-858E-FB1E8E13E555}" type="slidenum">
              <a:rPr lang="en-US" smtClean="0"/>
              <a:t>‹#›</a:t>
            </a:fld>
            <a:endParaRPr lang="en-US"/>
          </a:p>
        </p:txBody>
      </p:sp>
    </p:spTree>
    <p:extLst>
      <p:ext uri="{BB962C8B-B14F-4D97-AF65-F5344CB8AC3E}">
        <p14:creationId xmlns:p14="http://schemas.microsoft.com/office/powerpoint/2010/main" val="32517112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7121AE2-0397-0B4D-B2E8-91C69D396F1A}"/>
              </a:ext>
            </a:extLst>
          </p:cNvPr>
          <p:cNvSpPr/>
          <p:nvPr/>
        </p:nvSpPr>
        <p:spPr>
          <a:xfrm>
            <a:off x="0" y="0"/>
            <a:ext cx="12192000" cy="6858000"/>
          </a:xfrm>
          <a:prstGeom prst="rect">
            <a:avLst/>
          </a:prstGeom>
          <a:solidFill>
            <a:srgbClr val="006F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Logo&#10;&#10;Description automatically generated">
            <a:extLst>
              <a:ext uri="{FF2B5EF4-FFF2-40B4-BE49-F238E27FC236}">
                <a16:creationId xmlns:a16="http://schemas.microsoft.com/office/drawing/2014/main" id="{EF46C7FD-9A94-BB4C-97B6-213FDE8A414D}"/>
              </a:ext>
            </a:extLst>
          </p:cNvPr>
          <p:cNvPicPr>
            <a:picLocks noChangeAspect="1"/>
          </p:cNvPicPr>
          <p:nvPr/>
        </p:nvPicPr>
        <p:blipFill rotWithShape="1">
          <a:blip r:embed="rId2"/>
          <a:srcRect r="8250"/>
          <a:stretch/>
        </p:blipFill>
        <p:spPr>
          <a:xfrm>
            <a:off x="3802380" y="3429000"/>
            <a:ext cx="8389620" cy="1879600"/>
          </a:xfrm>
          <a:prstGeom prst="rect">
            <a:avLst/>
          </a:prstGeom>
        </p:spPr>
      </p:pic>
      <p:sp>
        <p:nvSpPr>
          <p:cNvPr id="3" name="Title 2">
            <a:extLst>
              <a:ext uri="{FF2B5EF4-FFF2-40B4-BE49-F238E27FC236}">
                <a16:creationId xmlns:a16="http://schemas.microsoft.com/office/drawing/2014/main" id="{33B38DF7-1F4C-4F50-A63B-5E81F759B2AE}"/>
              </a:ext>
            </a:extLst>
          </p:cNvPr>
          <p:cNvSpPr>
            <a:spLocks noGrp="1"/>
          </p:cNvSpPr>
          <p:nvPr>
            <p:ph type="title" hasCustomPrompt="1"/>
          </p:nvPr>
        </p:nvSpPr>
        <p:spPr>
          <a:xfrm>
            <a:off x="838200" y="1477235"/>
            <a:ext cx="10515600" cy="1325563"/>
          </a:xfrm>
          <a:prstGeom prst="rect">
            <a:avLst/>
          </a:prstGeom>
        </p:spPr>
        <p:txBody>
          <a:bodyPr>
            <a:normAutofit/>
          </a:bodyPr>
          <a:lstStyle>
            <a:lvl1pPr algn="ctr">
              <a:defRPr sz="4400">
                <a:solidFill>
                  <a:schemeClr val="bg1"/>
                </a:solidFill>
                <a:latin typeface="BentonSans Light" panose="02000503000000020004" pitchFamily="2" charset="0"/>
              </a:defRPr>
            </a:lvl1pPr>
          </a:lstStyle>
          <a:p>
            <a:r>
              <a:rPr lang="en-US"/>
              <a:t>Divider Title</a:t>
            </a:r>
          </a:p>
        </p:txBody>
      </p:sp>
    </p:spTree>
    <p:extLst>
      <p:ext uri="{BB962C8B-B14F-4D97-AF65-F5344CB8AC3E}">
        <p14:creationId xmlns:p14="http://schemas.microsoft.com/office/powerpoint/2010/main" val="17686858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5D81510-1A6E-F948-8808-DDD611679D97}"/>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Logo&#10;&#10;Description automatically generated">
            <a:extLst>
              <a:ext uri="{FF2B5EF4-FFF2-40B4-BE49-F238E27FC236}">
                <a16:creationId xmlns:a16="http://schemas.microsoft.com/office/drawing/2014/main" id="{71D2AA29-D96B-3D45-BB11-062F8E33B16E}"/>
              </a:ext>
            </a:extLst>
          </p:cNvPr>
          <p:cNvPicPr>
            <a:picLocks noChangeAspect="1"/>
          </p:cNvPicPr>
          <p:nvPr/>
        </p:nvPicPr>
        <p:blipFill rotWithShape="1">
          <a:blip r:embed="rId2"/>
          <a:srcRect r="8250"/>
          <a:stretch/>
        </p:blipFill>
        <p:spPr>
          <a:xfrm>
            <a:off x="3802380" y="3429000"/>
            <a:ext cx="8389620" cy="1879600"/>
          </a:xfrm>
          <a:prstGeom prst="rect">
            <a:avLst/>
          </a:prstGeom>
        </p:spPr>
      </p:pic>
      <p:sp>
        <p:nvSpPr>
          <p:cNvPr id="5" name="Title 2">
            <a:extLst>
              <a:ext uri="{FF2B5EF4-FFF2-40B4-BE49-F238E27FC236}">
                <a16:creationId xmlns:a16="http://schemas.microsoft.com/office/drawing/2014/main" id="{15AC3093-EF4D-46C4-9953-BB3B55C4EE8E}"/>
              </a:ext>
            </a:extLst>
          </p:cNvPr>
          <p:cNvSpPr>
            <a:spLocks noGrp="1"/>
          </p:cNvSpPr>
          <p:nvPr>
            <p:ph type="title" hasCustomPrompt="1"/>
          </p:nvPr>
        </p:nvSpPr>
        <p:spPr>
          <a:xfrm>
            <a:off x="838200" y="1477235"/>
            <a:ext cx="10515600" cy="1325563"/>
          </a:xfrm>
          <a:prstGeom prst="rect">
            <a:avLst/>
          </a:prstGeom>
        </p:spPr>
        <p:txBody>
          <a:bodyPr>
            <a:normAutofit/>
          </a:bodyPr>
          <a:lstStyle>
            <a:lvl1pPr algn="ctr">
              <a:defRPr sz="4400">
                <a:solidFill>
                  <a:schemeClr val="tx2"/>
                </a:solidFill>
                <a:latin typeface="BentonSans Light" panose="02000503000000020004" pitchFamily="2" charset="0"/>
              </a:defRPr>
            </a:lvl1pPr>
          </a:lstStyle>
          <a:p>
            <a:r>
              <a:rPr lang="en-US"/>
              <a:t>Divider Title</a:t>
            </a:r>
          </a:p>
        </p:txBody>
      </p:sp>
    </p:spTree>
    <p:extLst>
      <p:ext uri="{BB962C8B-B14F-4D97-AF65-F5344CB8AC3E}">
        <p14:creationId xmlns:p14="http://schemas.microsoft.com/office/powerpoint/2010/main" val="3292571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5D81510-1A6E-F948-8808-DDD611679D97}"/>
              </a:ext>
            </a:extLst>
          </p:cNvPr>
          <p:cNvSpPr/>
          <p:nvPr/>
        </p:nvSpPr>
        <p:spPr>
          <a:xfrm>
            <a:off x="0" y="0"/>
            <a:ext cx="12192000" cy="6858000"/>
          </a:xfrm>
          <a:prstGeom prst="rect">
            <a:avLst/>
          </a:prstGeom>
          <a:solidFill>
            <a:srgbClr val="0017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Logo&#10;&#10;Description automatically generated">
            <a:extLst>
              <a:ext uri="{FF2B5EF4-FFF2-40B4-BE49-F238E27FC236}">
                <a16:creationId xmlns:a16="http://schemas.microsoft.com/office/drawing/2014/main" id="{CD36C1E8-FC41-184D-BD76-CA14954FCB1B}"/>
              </a:ext>
            </a:extLst>
          </p:cNvPr>
          <p:cNvPicPr>
            <a:picLocks noChangeAspect="1"/>
          </p:cNvPicPr>
          <p:nvPr/>
        </p:nvPicPr>
        <p:blipFill rotWithShape="1">
          <a:blip r:embed="rId2"/>
          <a:srcRect r="8250"/>
          <a:stretch/>
        </p:blipFill>
        <p:spPr>
          <a:xfrm>
            <a:off x="3802380" y="3429000"/>
            <a:ext cx="8389620" cy="1879600"/>
          </a:xfrm>
          <a:prstGeom prst="rect">
            <a:avLst/>
          </a:prstGeom>
        </p:spPr>
      </p:pic>
      <p:sp>
        <p:nvSpPr>
          <p:cNvPr id="5" name="Title 2">
            <a:extLst>
              <a:ext uri="{FF2B5EF4-FFF2-40B4-BE49-F238E27FC236}">
                <a16:creationId xmlns:a16="http://schemas.microsoft.com/office/drawing/2014/main" id="{3A50FADF-FDA3-4C3B-AC56-938C412B2566}"/>
              </a:ext>
            </a:extLst>
          </p:cNvPr>
          <p:cNvSpPr>
            <a:spLocks noGrp="1"/>
          </p:cNvSpPr>
          <p:nvPr>
            <p:ph type="title" hasCustomPrompt="1"/>
          </p:nvPr>
        </p:nvSpPr>
        <p:spPr>
          <a:xfrm>
            <a:off x="838200" y="1477235"/>
            <a:ext cx="10515600" cy="1325563"/>
          </a:xfrm>
          <a:prstGeom prst="rect">
            <a:avLst/>
          </a:prstGeom>
        </p:spPr>
        <p:txBody>
          <a:bodyPr>
            <a:normAutofit/>
          </a:bodyPr>
          <a:lstStyle>
            <a:lvl1pPr algn="ctr">
              <a:defRPr sz="4400">
                <a:solidFill>
                  <a:schemeClr val="bg1"/>
                </a:solidFill>
                <a:latin typeface="BentonSans Light" panose="02000503000000020004" pitchFamily="2" charset="0"/>
              </a:defRPr>
            </a:lvl1pPr>
          </a:lstStyle>
          <a:p>
            <a:r>
              <a:rPr lang="en-US"/>
              <a:t>Divider Title</a:t>
            </a:r>
          </a:p>
        </p:txBody>
      </p:sp>
    </p:spTree>
    <p:extLst>
      <p:ext uri="{BB962C8B-B14F-4D97-AF65-F5344CB8AC3E}">
        <p14:creationId xmlns:p14="http://schemas.microsoft.com/office/powerpoint/2010/main" val="36125185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hank You ">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E6A4ACC6-C622-0246-AB4C-89DDC170B2E4}"/>
              </a:ext>
            </a:extLst>
          </p:cNvPr>
          <p:cNvPicPr>
            <a:picLocks noChangeAspect="1"/>
          </p:cNvPicPr>
          <p:nvPr/>
        </p:nvPicPr>
        <p:blipFill rotWithShape="1">
          <a:blip r:embed="rId2"/>
          <a:srcRect l="19860" t="22072" r="23407" b="55117"/>
          <a:stretch/>
        </p:blipFill>
        <p:spPr>
          <a:xfrm>
            <a:off x="-1" y="4105275"/>
            <a:ext cx="12170797" cy="2752725"/>
          </a:xfrm>
          <a:prstGeom prst="rect">
            <a:avLst/>
          </a:prstGeom>
        </p:spPr>
      </p:pic>
      <p:sp>
        <p:nvSpPr>
          <p:cNvPr id="8" name="Rectangle 7">
            <a:extLst>
              <a:ext uri="{FF2B5EF4-FFF2-40B4-BE49-F238E27FC236}">
                <a16:creationId xmlns:a16="http://schemas.microsoft.com/office/drawing/2014/main" id="{F5D81510-1A6E-F948-8808-DDD611679D97}"/>
              </a:ext>
            </a:extLst>
          </p:cNvPr>
          <p:cNvSpPr/>
          <p:nvPr/>
        </p:nvSpPr>
        <p:spPr>
          <a:xfrm>
            <a:off x="0" y="-1"/>
            <a:ext cx="12192000" cy="48768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0" b="0" i="0">
                <a:latin typeface="BentonSans Light" panose="02000503000000020004" pitchFamily="2" charset="0"/>
              </a:rPr>
              <a:t>Thank </a:t>
            </a:r>
            <a:r>
              <a:rPr lang="en-US" sz="8000" b="0" i="0">
                <a:solidFill>
                  <a:schemeClr val="tx2"/>
                </a:solidFill>
                <a:latin typeface="BentonSans Light" panose="02000503000000020004" pitchFamily="2" charset="0"/>
              </a:rPr>
              <a:t>you</a:t>
            </a:r>
          </a:p>
        </p:txBody>
      </p:sp>
      <p:pic>
        <p:nvPicPr>
          <p:cNvPr id="5" name="Picture 4" descr="Logo&#10;&#10;Description automatically generated">
            <a:extLst>
              <a:ext uri="{FF2B5EF4-FFF2-40B4-BE49-F238E27FC236}">
                <a16:creationId xmlns:a16="http://schemas.microsoft.com/office/drawing/2014/main" id="{DEFB14D7-CDBD-DD4E-9664-B8D5C2C9F111}"/>
              </a:ext>
            </a:extLst>
          </p:cNvPr>
          <p:cNvPicPr>
            <a:picLocks noChangeAspect="1"/>
          </p:cNvPicPr>
          <p:nvPr/>
        </p:nvPicPr>
        <p:blipFill>
          <a:blip r:embed="rId3"/>
          <a:stretch>
            <a:fillRect/>
          </a:stretch>
        </p:blipFill>
        <p:spPr>
          <a:xfrm>
            <a:off x="11094515" y="-184797"/>
            <a:ext cx="1278705" cy="1278705"/>
          </a:xfrm>
          <a:prstGeom prst="rect">
            <a:avLst/>
          </a:prstGeom>
        </p:spPr>
      </p:pic>
    </p:spTree>
    <p:extLst>
      <p:ext uri="{BB962C8B-B14F-4D97-AF65-F5344CB8AC3E}">
        <p14:creationId xmlns:p14="http://schemas.microsoft.com/office/powerpoint/2010/main" val="26856068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eamAme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5D81510-1A6E-F948-8808-DDD611679D97}"/>
              </a:ext>
            </a:extLst>
          </p:cNvPr>
          <p:cNvSpPr/>
          <p:nvPr/>
        </p:nvSpPr>
        <p:spPr>
          <a:xfrm>
            <a:off x="0" y="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0" b="0" i="0">
                <a:solidFill>
                  <a:schemeClr val="tx1"/>
                </a:solidFill>
                <a:latin typeface="BentonSans Light" panose="02000503000000020004" pitchFamily="2" charset="0"/>
              </a:rPr>
              <a:t>#Team</a:t>
            </a:r>
            <a:r>
              <a:rPr lang="en-US" sz="8000" b="0" i="0">
                <a:solidFill>
                  <a:srgbClr val="006FCF"/>
                </a:solidFill>
                <a:latin typeface="BentonSans Light" panose="02000503000000020004" pitchFamily="2" charset="0"/>
              </a:rPr>
              <a:t>Amex</a:t>
            </a:r>
          </a:p>
          <a:p>
            <a:pPr algn="ctr"/>
            <a:endParaRPr lang="en-US" sz="8000" b="0" i="0">
              <a:solidFill>
                <a:srgbClr val="006FCF"/>
              </a:solidFill>
              <a:latin typeface="Benton Sans Light" panose="02000404020000020004" pitchFamily="2" charset="77"/>
            </a:endParaRPr>
          </a:p>
        </p:txBody>
      </p:sp>
      <p:pic>
        <p:nvPicPr>
          <p:cNvPr id="4" name="Picture 3" descr="Logo&#10;&#10;Description automatically generated">
            <a:extLst>
              <a:ext uri="{FF2B5EF4-FFF2-40B4-BE49-F238E27FC236}">
                <a16:creationId xmlns:a16="http://schemas.microsoft.com/office/drawing/2014/main" id="{2B6193D3-30F4-9444-81C2-2D602B2093EE}"/>
              </a:ext>
            </a:extLst>
          </p:cNvPr>
          <p:cNvPicPr>
            <a:picLocks noChangeAspect="1"/>
          </p:cNvPicPr>
          <p:nvPr/>
        </p:nvPicPr>
        <p:blipFill>
          <a:blip r:embed="rId2"/>
          <a:stretch>
            <a:fillRect/>
          </a:stretch>
        </p:blipFill>
        <p:spPr>
          <a:xfrm>
            <a:off x="5190564" y="3822210"/>
            <a:ext cx="1810871" cy="1810871"/>
          </a:xfrm>
          <a:prstGeom prst="rect">
            <a:avLst/>
          </a:prstGeom>
        </p:spPr>
      </p:pic>
    </p:spTree>
    <p:extLst>
      <p:ext uri="{BB962C8B-B14F-4D97-AF65-F5344CB8AC3E}">
        <p14:creationId xmlns:p14="http://schemas.microsoft.com/office/powerpoint/2010/main" val="22128357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FD5FF-74AE-4C77-89DA-B436F36B454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E3AA9CD-8D3F-45E8-3953-B21FDE621C2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CEF01C4-0E28-BC8A-1514-8EAA4DD38742}"/>
              </a:ext>
            </a:extLst>
          </p:cNvPr>
          <p:cNvSpPr>
            <a:spLocks noGrp="1"/>
          </p:cNvSpPr>
          <p:nvPr>
            <p:ph type="dt" sz="half" idx="10"/>
          </p:nvPr>
        </p:nvSpPr>
        <p:spPr/>
        <p:txBody>
          <a:bodyPr/>
          <a:lstStyle/>
          <a:p>
            <a:fld id="{4A2D2C7F-D07D-49BB-859C-6DFDD5BB8F71}" type="datetimeFigureOut">
              <a:rPr lang="en-US" smtClean="0"/>
              <a:t>5/16/2023</a:t>
            </a:fld>
            <a:endParaRPr lang="en-US"/>
          </a:p>
        </p:txBody>
      </p:sp>
      <p:sp>
        <p:nvSpPr>
          <p:cNvPr id="5" name="Footer Placeholder 4">
            <a:extLst>
              <a:ext uri="{FF2B5EF4-FFF2-40B4-BE49-F238E27FC236}">
                <a16:creationId xmlns:a16="http://schemas.microsoft.com/office/drawing/2014/main" id="{D015ABF1-F7EE-6FAC-5092-561E25FFA1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E2C3E9-2768-3583-49E9-67163A4A2DE3}"/>
              </a:ext>
            </a:extLst>
          </p:cNvPr>
          <p:cNvSpPr>
            <a:spLocks noGrp="1"/>
          </p:cNvSpPr>
          <p:nvPr>
            <p:ph type="sldNum" sz="quarter" idx="12"/>
          </p:nvPr>
        </p:nvSpPr>
        <p:spPr/>
        <p:txBody>
          <a:bodyPr/>
          <a:lstStyle/>
          <a:p>
            <a:fld id="{98A0C587-F233-4E5E-858E-FB1E8E13E555}" type="slidenum">
              <a:rPr lang="en-US" smtClean="0"/>
              <a:t>‹#›</a:t>
            </a:fld>
            <a:endParaRPr lang="en-US"/>
          </a:p>
        </p:txBody>
      </p:sp>
    </p:spTree>
    <p:extLst>
      <p:ext uri="{BB962C8B-B14F-4D97-AF65-F5344CB8AC3E}">
        <p14:creationId xmlns:p14="http://schemas.microsoft.com/office/powerpoint/2010/main" val="24342397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8" name="Freeform 5"/>
          <p:cNvSpPr>
            <a:spLocks noChangeAspect="1" noEditPoints="1"/>
          </p:cNvSpPr>
          <p:nvPr userDrawn="1"/>
        </p:nvSpPr>
        <p:spPr bwMode="hidden">
          <a:xfrm>
            <a:off x="0" y="1436749"/>
            <a:ext cx="12192000" cy="5421252"/>
          </a:xfrm>
          <a:custGeom>
            <a:avLst/>
            <a:gdLst>
              <a:gd name="T0" fmla="*/ 946 w 19199"/>
              <a:gd name="T1" fmla="*/ 4165 h 8543"/>
              <a:gd name="T2" fmla="*/ 0 w 19199"/>
              <a:gd name="T3" fmla="*/ 5101 h 8543"/>
              <a:gd name="T4" fmla="*/ 285 w 19199"/>
              <a:gd name="T5" fmla="*/ 5150 h 8543"/>
              <a:gd name="T6" fmla="*/ 5087 w 19199"/>
              <a:gd name="T7" fmla="*/ 5007 h 8543"/>
              <a:gd name="T8" fmla="*/ 5087 w 19199"/>
              <a:gd name="T9" fmla="*/ 5242 h 8543"/>
              <a:gd name="T10" fmla="*/ 18942 w 19199"/>
              <a:gd name="T11" fmla="*/ 8543 h 8543"/>
              <a:gd name="T12" fmla="*/ 13742 w 19199"/>
              <a:gd name="T13" fmla="*/ 6947 h 8543"/>
              <a:gd name="T14" fmla="*/ 5087 w 19199"/>
              <a:gd name="T15" fmla="*/ 5604 h 8543"/>
              <a:gd name="T16" fmla="*/ 5087 w 19199"/>
              <a:gd name="T17" fmla="*/ 5839 h 8543"/>
              <a:gd name="T18" fmla="*/ 18041 w 19199"/>
              <a:gd name="T19" fmla="*/ 8543 h 8543"/>
              <a:gd name="T20" fmla="*/ 13742 w 19199"/>
              <a:gd name="T21" fmla="*/ 7544 h 8543"/>
              <a:gd name="T22" fmla="*/ 10691 w 19199"/>
              <a:gd name="T23" fmla="*/ 5474 h 8543"/>
              <a:gd name="T24" fmla="*/ 9229 w 19199"/>
              <a:gd name="T25" fmla="*/ 4165 h 8543"/>
              <a:gd name="T26" fmla="*/ 15758 w 19199"/>
              <a:gd name="T27" fmla="*/ 5619 h 8543"/>
              <a:gd name="T28" fmla="*/ 17025 w 19199"/>
              <a:gd name="T29" fmla="*/ 595 h 8543"/>
              <a:gd name="T30" fmla="*/ 17143 w 19199"/>
              <a:gd name="T31" fmla="*/ 1907 h 8543"/>
              <a:gd name="T32" fmla="*/ 16908 w 19199"/>
              <a:gd name="T33" fmla="*/ 1907 h 8543"/>
              <a:gd name="T34" fmla="*/ 17025 w 19199"/>
              <a:gd name="T35" fmla="*/ 831 h 8543"/>
              <a:gd name="T36" fmla="*/ 12144 w 19199"/>
              <a:gd name="T37" fmla="*/ 4880 h 8543"/>
              <a:gd name="T38" fmla="*/ 11681 w 19199"/>
              <a:gd name="T39" fmla="*/ 4709 h 8543"/>
              <a:gd name="T40" fmla="*/ 9929 w 19199"/>
              <a:gd name="T41" fmla="*/ 5452 h 8543"/>
              <a:gd name="T42" fmla="*/ 18698 w 19199"/>
              <a:gd name="T43" fmla="*/ 1907 h 8543"/>
              <a:gd name="T44" fmla="*/ 16729 w 19199"/>
              <a:gd name="T45" fmla="*/ 2940 h 8543"/>
              <a:gd name="T46" fmla="*/ 15402 w 19199"/>
              <a:gd name="T47" fmla="*/ 4122 h 8543"/>
              <a:gd name="T48" fmla="*/ 15608 w 19199"/>
              <a:gd name="T49" fmla="*/ 5049 h 8543"/>
              <a:gd name="T50" fmla="*/ 12290 w 19199"/>
              <a:gd name="T51" fmla="*/ 5696 h 8543"/>
              <a:gd name="T52" fmla="*/ 8973 w 19199"/>
              <a:gd name="T53" fmla="*/ 3745 h 8543"/>
              <a:gd name="T54" fmla="*/ 0 w 19199"/>
              <a:gd name="T55" fmla="*/ 4176 h 8543"/>
              <a:gd name="T56" fmla="*/ 1437 w 19199"/>
              <a:gd name="T57" fmla="*/ 3623 h 8543"/>
              <a:gd name="T58" fmla="*/ 9064 w 19199"/>
              <a:gd name="T59" fmla="*/ 5106 h 8543"/>
              <a:gd name="T60" fmla="*/ 8855 w 19199"/>
              <a:gd name="T61" fmla="*/ 3505 h 8543"/>
              <a:gd name="T62" fmla="*/ 11200 w 19199"/>
              <a:gd name="T63" fmla="*/ 4212 h 8543"/>
              <a:gd name="T64" fmla="*/ 13476 w 19199"/>
              <a:gd name="T65" fmla="*/ 3772 h 8543"/>
              <a:gd name="T66" fmla="*/ 15402 w 19199"/>
              <a:gd name="T67" fmla="*/ 3887 h 8543"/>
              <a:gd name="T68" fmla="*/ 17025 w 19199"/>
              <a:gd name="T69" fmla="*/ 0 h 8543"/>
              <a:gd name="T70" fmla="*/ 18934 w 19199"/>
              <a:gd name="T71" fmla="*/ 1907 h 8543"/>
              <a:gd name="T72" fmla="*/ 19199 w 19199"/>
              <a:gd name="T73" fmla="*/ 6150 h 8543"/>
              <a:gd name="T74" fmla="*/ 13742 w 19199"/>
              <a:gd name="T75" fmla="*/ 6575 h 8543"/>
              <a:gd name="T76" fmla="*/ 0 w 19199"/>
              <a:gd name="T77" fmla="*/ 5553 h 8543"/>
              <a:gd name="T78" fmla="*/ 0 w 19199"/>
              <a:gd name="T79" fmla="*/ 4528 h 8543"/>
              <a:gd name="T80" fmla="*/ 16631 w 19199"/>
              <a:gd name="T81" fmla="*/ 4282 h 8543"/>
              <a:gd name="T82" fmla="*/ 14059 w 19199"/>
              <a:gd name="T83" fmla="*/ 4151 h 8543"/>
              <a:gd name="T84" fmla="*/ 17025 w 19199"/>
              <a:gd name="T85" fmla="*/ 1427 h 8543"/>
              <a:gd name="T86" fmla="*/ 16311 w 19199"/>
              <a:gd name="T87" fmla="*/ 2024 h 8543"/>
              <a:gd name="T88" fmla="*/ 17740 w 19199"/>
              <a:gd name="T89" fmla="*/ 1907 h 8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199" h="8543">
                <a:moveTo>
                  <a:pt x="285" y="5150"/>
                </a:moveTo>
                <a:lnTo>
                  <a:pt x="285" y="5150"/>
                </a:lnTo>
                <a:cubicBezTo>
                  <a:pt x="565" y="4868"/>
                  <a:pt x="792" y="4537"/>
                  <a:pt x="946" y="4165"/>
                </a:cubicBezTo>
                <a:cubicBezTo>
                  <a:pt x="950" y="4123"/>
                  <a:pt x="954" y="4080"/>
                  <a:pt x="957" y="4036"/>
                </a:cubicBezTo>
                <a:cubicBezTo>
                  <a:pt x="860" y="4071"/>
                  <a:pt x="770" y="4123"/>
                  <a:pt x="681" y="4188"/>
                </a:cubicBezTo>
                <a:cubicBezTo>
                  <a:pt x="518" y="4537"/>
                  <a:pt x="284" y="4845"/>
                  <a:pt x="0" y="5101"/>
                </a:cubicBezTo>
                <a:lnTo>
                  <a:pt x="0" y="5267"/>
                </a:lnTo>
                <a:cubicBezTo>
                  <a:pt x="48" y="5247"/>
                  <a:pt x="96" y="5227"/>
                  <a:pt x="145" y="5207"/>
                </a:cubicBezTo>
                <a:cubicBezTo>
                  <a:pt x="191" y="5188"/>
                  <a:pt x="239" y="5169"/>
                  <a:pt x="285" y="5150"/>
                </a:cubicBezTo>
                <a:close/>
                <a:moveTo>
                  <a:pt x="13742" y="6947"/>
                </a:moveTo>
                <a:lnTo>
                  <a:pt x="13742" y="6947"/>
                </a:lnTo>
                <a:cubicBezTo>
                  <a:pt x="10070" y="6947"/>
                  <a:pt x="9296" y="5007"/>
                  <a:pt x="5087" y="5007"/>
                </a:cubicBezTo>
                <a:cubicBezTo>
                  <a:pt x="2649" y="5007"/>
                  <a:pt x="1364" y="5658"/>
                  <a:pt x="0" y="6206"/>
                </a:cubicBezTo>
                <a:lnTo>
                  <a:pt x="0" y="6459"/>
                </a:lnTo>
                <a:cubicBezTo>
                  <a:pt x="1385" y="5908"/>
                  <a:pt x="2654" y="5242"/>
                  <a:pt x="5087" y="5242"/>
                </a:cubicBezTo>
                <a:cubicBezTo>
                  <a:pt x="9241" y="5242"/>
                  <a:pt x="10001" y="7182"/>
                  <a:pt x="13742" y="7182"/>
                </a:cubicBezTo>
                <a:cubicBezTo>
                  <a:pt x="15262" y="7182"/>
                  <a:pt x="16685" y="6655"/>
                  <a:pt x="17770" y="5695"/>
                </a:cubicBezTo>
                <a:lnTo>
                  <a:pt x="18942" y="8543"/>
                </a:lnTo>
                <a:lnTo>
                  <a:pt x="19196" y="8543"/>
                </a:lnTo>
                <a:lnTo>
                  <a:pt x="17859" y="5293"/>
                </a:lnTo>
                <a:cubicBezTo>
                  <a:pt x="16659" y="6419"/>
                  <a:pt x="15293" y="6947"/>
                  <a:pt x="13742" y="6947"/>
                </a:cubicBezTo>
                <a:close/>
                <a:moveTo>
                  <a:pt x="13742" y="7544"/>
                </a:moveTo>
                <a:lnTo>
                  <a:pt x="13742" y="7544"/>
                </a:lnTo>
                <a:cubicBezTo>
                  <a:pt x="9914" y="7544"/>
                  <a:pt x="9144" y="5604"/>
                  <a:pt x="5087" y="5604"/>
                </a:cubicBezTo>
                <a:cubicBezTo>
                  <a:pt x="2673" y="5604"/>
                  <a:pt x="1423" y="6291"/>
                  <a:pt x="0" y="6847"/>
                </a:cubicBezTo>
                <a:lnTo>
                  <a:pt x="0" y="7099"/>
                </a:lnTo>
                <a:cubicBezTo>
                  <a:pt x="1450" y="6540"/>
                  <a:pt x="2690" y="5839"/>
                  <a:pt x="5087" y="5839"/>
                </a:cubicBezTo>
                <a:cubicBezTo>
                  <a:pt x="9078" y="5839"/>
                  <a:pt x="9860" y="7779"/>
                  <a:pt x="13742" y="7779"/>
                </a:cubicBezTo>
                <a:cubicBezTo>
                  <a:pt x="15003" y="7779"/>
                  <a:pt x="16217" y="7443"/>
                  <a:pt x="17262" y="6807"/>
                </a:cubicBezTo>
                <a:lnTo>
                  <a:pt x="18041" y="8543"/>
                </a:lnTo>
                <a:lnTo>
                  <a:pt x="18298" y="8543"/>
                </a:lnTo>
                <a:lnTo>
                  <a:pt x="17365" y="6463"/>
                </a:lnTo>
                <a:cubicBezTo>
                  <a:pt x="16290" y="7150"/>
                  <a:pt x="15133" y="7544"/>
                  <a:pt x="13742" y="7544"/>
                </a:cubicBezTo>
                <a:close/>
                <a:moveTo>
                  <a:pt x="10030" y="5207"/>
                </a:moveTo>
                <a:lnTo>
                  <a:pt x="10030" y="5207"/>
                </a:lnTo>
                <a:cubicBezTo>
                  <a:pt x="10251" y="5298"/>
                  <a:pt x="10470" y="5388"/>
                  <a:pt x="10691" y="5474"/>
                </a:cubicBezTo>
                <a:cubicBezTo>
                  <a:pt x="10170" y="5175"/>
                  <a:pt x="9747" y="4730"/>
                  <a:pt x="9494" y="4188"/>
                </a:cubicBezTo>
                <a:cubicBezTo>
                  <a:pt x="9405" y="4123"/>
                  <a:pt x="9315" y="4071"/>
                  <a:pt x="9218" y="4036"/>
                </a:cubicBezTo>
                <a:cubicBezTo>
                  <a:pt x="9221" y="4080"/>
                  <a:pt x="9225" y="4123"/>
                  <a:pt x="9229" y="4165"/>
                </a:cubicBezTo>
                <a:cubicBezTo>
                  <a:pt x="9383" y="4537"/>
                  <a:pt x="9610" y="4868"/>
                  <a:pt x="9889" y="5150"/>
                </a:cubicBezTo>
                <a:cubicBezTo>
                  <a:pt x="9936" y="5169"/>
                  <a:pt x="9984" y="5188"/>
                  <a:pt x="10030" y="5207"/>
                </a:cubicBezTo>
                <a:close/>
                <a:moveTo>
                  <a:pt x="15758" y="5619"/>
                </a:moveTo>
                <a:lnTo>
                  <a:pt x="15758" y="5619"/>
                </a:lnTo>
                <a:cubicBezTo>
                  <a:pt x="17300" y="4956"/>
                  <a:pt x="18337" y="3465"/>
                  <a:pt x="18337" y="1906"/>
                </a:cubicBezTo>
                <a:cubicBezTo>
                  <a:pt x="18337" y="1184"/>
                  <a:pt x="17748" y="595"/>
                  <a:pt x="17025" y="595"/>
                </a:cubicBezTo>
                <a:cubicBezTo>
                  <a:pt x="16302" y="595"/>
                  <a:pt x="15714" y="1184"/>
                  <a:pt x="15714" y="1907"/>
                </a:cubicBezTo>
                <a:cubicBezTo>
                  <a:pt x="15714" y="2301"/>
                  <a:pt x="16034" y="2621"/>
                  <a:pt x="16428" y="2621"/>
                </a:cubicBezTo>
                <a:cubicBezTo>
                  <a:pt x="16822" y="2621"/>
                  <a:pt x="17143" y="2301"/>
                  <a:pt x="17143" y="1907"/>
                </a:cubicBezTo>
                <a:lnTo>
                  <a:pt x="17143" y="1789"/>
                </a:lnTo>
                <a:lnTo>
                  <a:pt x="16908" y="1789"/>
                </a:lnTo>
                <a:lnTo>
                  <a:pt x="16908" y="1907"/>
                </a:lnTo>
                <a:cubicBezTo>
                  <a:pt x="16908" y="2171"/>
                  <a:pt x="16693" y="2386"/>
                  <a:pt x="16428" y="2386"/>
                </a:cubicBezTo>
                <a:cubicBezTo>
                  <a:pt x="16164" y="2386"/>
                  <a:pt x="15949" y="2171"/>
                  <a:pt x="15949" y="1907"/>
                </a:cubicBezTo>
                <a:cubicBezTo>
                  <a:pt x="15949" y="1313"/>
                  <a:pt x="16432" y="831"/>
                  <a:pt x="17025" y="831"/>
                </a:cubicBezTo>
                <a:cubicBezTo>
                  <a:pt x="17619" y="831"/>
                  <a:pt x="18101" y="1313"/>
                  <a:pt x="18101" y="1907"/>
                </a:cubicBezTo>
                <a:cubicBezTo>
                  <a:pt x="18101" y="3372"/>
                  <a:pt x="17122" y="4777"/>
                  <a:pt x="15665" y="5402"/>
                </a:cubicBezTo>
                <a:cubicBezTo>
                  <a:pt x="14383" y="5953"/>
                  <a:pt x="13067" y="5757"/>
                  <a:pt x="12144" y="4880"/>
                </a:cubicBezTo>
                <a:cubicBezTo>
                  <a:pt x="12122" y="4859"/>
                  <a:pt x="12090" y="4827"/>
                  <a:pt x="12055" y="4789"/>
                </a:cubicBezTo>
                <a:cubicBezTo>
                  <a:pt x="11944" y="4753"/>
                  <a:pt x="11822" y="4724"/>
                  <a:pt x="11681" y="4706"/>
                </a:cubicBezTo>
                <a:cubicBezTo>
                  <a:pt x="11681" y="4707"/>
                  <a:pt x="11681" y="4708"/>
                  <a:pt x="11681" y="4709"/>
                </a:cubicBezTo>
                <a:cubicBezTo>
                  <a:pt x="11809" y="4884"/>
                  <a:pt x="11957" y="5027"/>
                  <a:pt x="11982" y="5051"/>
                </a:cubicBezTo>
                <a:cubicBezTo>
                  <a:pt x="12967" y="5987"/>
                  <a:pt x="14376" y="6212"/>
                  <a:pt x="15758" y="5619"/>
                </a:cubicBezTo>
                <a:close/>
                <a:moveTo>
                  <a:pt x="9929" y="5452"/>
                </a:moveTo>
                <a:lnTo>
                  <a:pt x="9929" y="5452"/>
                </a:lnTo>
                <a:cubicBezTo>
                  <a:pt x="11036" y="5909"/>
                  <a:pt x="12082" y="6340"/>
                  <a:pt x="13742" y="6340"/>
                </a:cubicBezTo>
                <a:cubicBezTo>
                  <a:pt x="16475" y="6340"/>
                  <a:pt x="18698" y="4351"/>
                  <a:pt x="18698" y="1907"/>
                </a:cubicBezTo>
                <a:cubicBezTo>
                  <a:pt x="18698" y="984"/>
                  <a:pt x="17948" y="234"/>
                  <a:pt x="17025" y="234"/>
                </a:cubicBezTo>
                <a:cubicBezTo>
                  <a:pt x="16103" y="234"/>
                  <a:pt x="15352" y="984"/>
                  <a:pt x="15352" y="1907"/>
                </a:cubicBezTo>
                <a:cubicBezTo>
                  <a:pt x="15352" y="2621"/>
                  <a:pt x="16039" y="3140"/>
                  <a:pt x="16729" y="2940"/>
                </a:cubicBezTo>
                <a:lnTo>
                  <a:pt x="16989" y="2865"/>
                </a:lnTo>
                <a:lnTo>
                  <a:pt x="16867" y="3106"/>
                </a:lnTo>
                <a:cubicBezTo>
                  <a:pt x="16545" y="3743"/>
                  <a:pt x="15997" y="4122"/>
                  <a:pt x="15402" y="4122"/>
                </a:cubicBezTo>
                <a:cubicBezTo>
                  <a:pt x="14796" y="4122"/>
                  <a:pt x="14501" y="3910"/>
                  <a:pt x="13713" y="3891"/>
                </a:cubicBezTo>
                <a:cubicBezTo>
                  <a:pt x="13743" y="4648"/>
                  <a:pt x="14043" y="5144"/>
                  <a:pt x="14795" y="5028"/>
                </a:cubicBezTo>
                <a:cubicBezTo>
                  <a:pt x="15114" y="5082"/>
                  <a:pt x="15357" y="5079"/>
                  <a:pt x="15608" y="5049"/>
                </a:cubicBezTo>
                <a:cubicBezTo>
                  <a:pt x="15205" y="5214"/>
                  <a:pt x="14764" y="5305"/>
                  <a:pt x="14302" y="5305"/>
                </a:cubicBezTo>
                <a:cubicBezTo>
                  <a:pt x="12815" y="5305"/>
                  <a:pt x="12763" y="4493"/>
                  <a:pt x="11435" y="4449"/>
                </a:cubicBezTo>
                <a:cubicBezTo>
                  <a:pt x="11449" y="5468"/>
                  <a:pt x="11748" y="5575"/>
                  <a:pt x="12290" y="5696"/>
                </a:cubicBezTo>
                <a:cubicBezTo>
                  <a:pt x="12495" y="5830"/>
                  <a:pt x="12711" y="5942"/>
                  <a:pt x="12936" y="6030"/>
                </a:cubicBezTo>
                <a:cubicBezTo>
                  <a:pt x="12521" y="5997"/>
                  <a:pt x="12072" y="5921"/>
                  <a:pt x="11653" y="5747"/>
                </a:cubicBezTo>
                <a:cubicBezTo>
                  <a:pt x="10325" y="5235"/>
                  <a:pt x="10073" y="3837"/>
                  <a:pt x="8973" y="3745"/>
                </a:cubicBezTo>
                <a:cubicBezTo>
                  <a:pt x="8977" y="4614"/>
                  <a:pt x="9131" y="5122"/>
                  <a:pt x="9929" y="5452"/>
                </a:cubicBezTo>
                <a:close/>
                <a:moveTo>
                  <a:pt x="0" y="4176"/>
                </a:moveTo>
                <a:lnTo>
                  <a:pt x="0" y="4176"/>
                </a:lnTo>
                <a:cubicBezTo>
                  <a:pt x="347" y="3802"/>
                  <a:pt x="724" y="3505"/>
                  <a:pt x="1320" y="3505"/>
                </a:cubicBezTo>
                <a:lnTo>
                  <a:pt x="1437" y="3505"/>
                </a:lnTo>
                <a:lnTo>
                  <a:pt x="1437" y="3623"/>
                </a:lnTo>
                <a:cubicBezTo>
                  <a:pt x="1437" y="4083"/>
                  <a:pt x="1436" y="4655"/>
                  <a:pt x="1111" y="5106"/>
                </a:cubicBezTo>
                <a:cubicBezTo>
                  <a:pt x="2134" y="4721"/>
                  <a:pt x="3310" y="4400"/>
                  <a:pt x="5087" y="4400"/>
                </a:cubicBezTo>
                <a:cubicBezTo>
                  <a:pt x="6865" y="4400"/>
                  <a:pt x="8041" y="4721"/>
                  <a:pt x="9064" y="5106"/>
                </a:cubicBezTo>
                <a:cubicBezTo>
                  <a:pt x="8739" y="4655"/>
                  <a:pt x="8737" y="4083"/>
                  <a:pt x="8737" y="3623"/>
                </a:cubicBezTo>
                <a:lnTo>
                  <a:pt x="8737" y="3505"/>
                </a:lnTo>
                <a:lnTo>
                  <a:pt x="8855" y="3505"/>
                </a:lnTo>
                <a:cubicBezTo>
                  <a:pt x="10057" y="3505"/>
                  <a:pt x="10370" y="4714"/>
                  <a:pt x="11344" y="5329"/>
                </a:cubicBezTo>
                <a:cubicBezTo>
                  <a:pt x="11217" y="5043"/>
                  <a:pt x="11200" y="4685"/>
                  <a:pt x="11200" y="4329"/>
                </a:cubicBezTo>
                <a:lnTo>
                  <a:pt x="11200" y="4212"/>
                </a:lnTo>
                <a:lnTo>
                  <a:pt x="11317" y="4212"/>
                </a:lnTo>
                <a:cubicBezTo>
                  <a:pt x="12696" y="4212"/>
                  <a:pt x="12844" y="4912"/>
                  <a:pt x="13911" y="5046"/>
                </a:cubicBezTo>
                <a:cubicBezTo>
                  <a:pt x="13626" y="4796"/>
                  <a:pt x="13476" y="4355"/>
                  <a:pt x="13476" y="3772"/>
                </a:cubicBezTo>
                <a:lnTo>
                  <a:pt x="13476" y="3654"/>
                </a:lnTo>
                <a:lnTo>
                  <a:pt x="13593" y="3654"/>
                </a:lnTo>
                <a:cubicBezTo>
                  <a:pt x="14501" y="3654"/>
                  <a:pt x="14809" y="3887"/>
                  <a:pt x="15402" y="3887"/>
                </a:cubicBezTo>
                <a:cubicBezTo>
                  <a:pt x="15838" y="3887"/>
                  <a:pt x="16248" y="3640"/>
                  <a:pt x="16532" y="3214"/>
                </a:cubicBezTo>
                <a:cubicBezTo>
                  <a:pt x="15766" y="3274"/>
                  <a:pt x="15117" y="2667"/>
                  <a:pt x="15117" y="1907"/>
                </a:cubicBezTo>
                <a:cubicBezTo>
                  <a:pt x="15117" y="855"/>
                  <a:pt x="15973" y="0"/>
                  <a:pt x="17025" y="0"/>
                </a:cubicBezTo>
                <a:cubicBezTo>
                  <a:pt x="18077" y="0"/>
                  <a:pt x="18933" y="854"/>
                  <a:pt x="18934" y="1906"/>
                </a:cubicBezTo>
                <a:lnTo>
                  <a:pt x="18934" y="1906"/>
                </a:lnTo>
                <a:lnTo>
                  <a:pt x="18934" y="1907"/>
                </a:lnTo>
                <a:lnTo>
                  <a:pt x="18934" y="1907"/>
                </a:lnTo>
                <a:cubicBezTo>
                  <a:pt x="18933" y="2653"/>
                  <a:pt x="18737" y="3358"/>
                  <a:pt x="18390" y="3984"/>
                </a:cubicBezTo>
                <a:lnTo>
                  <a:pt x="19199" y="6150"/>
                </a:lnTo>
                <a:lnTo>
                  <a:pt x="19199" y="6821"/>
                </a:lnTo>
                <a:lnTo>
                  <a:pt x="18235" y="4241"/>
                </a:lnTo>
                <a:cubicBezTo>
                  <a:pt x="17336" y="5635"/>
                  <a:pt x="15659" y="6575"/>
                  <a:pt x="13742" y="6575"/>
                </a:cubicBezTo>
                <a:cubicBezTo>
                  <a:pt x="10162" y="6575"/>
                  <a:pt x="9391" y="4635"/>
                  <a:pt x="5087" y="4635"/>
                </a:cubicBezTo>
                <a:cubicBezTo>
                  <a:pt x="2636" y="4635"/>
                  <a:pt x="1331" y="5265"/>
                  <a:pt x="0" y="5807"/>
                </a:cubicBezTo>
                <a:lnTo>
                  <a:pt x="0" y="5553"/>
                </a:lnTo>
                <a:cubicBezTo>
                  <a:pt x="81" y="5519"/>
                  <a:pt x="163" y="5486"/>
                  <a:pt x="245" y="5452"/>
                </a:cubicBezTo>
                <a:cubicBezTo>
                  <a:pt x="1044" y="5122"/>
                  <a:pt x="1197" y="4613"/>
                  <a:pt x="1202" y="3745"/>
                </a:cubicBezTo>
                <a:cubicBezTo>
                  <a:pt x="678" y="3789"/>
                  <a:pt x="346" y="4129"/>
                  <a:pt x="0" y="4528"/>
                </a:cubicBezTo>
                <a:lnTo>
                  <a:pt x="0" y="4176"/>
                </a:lnTo>
                <a:close/>
                <a:moveTo>
                  <a:pt x="16631" y="4282"/>
                </a:moveTo>
                <a:lnTo>
                  <a:pt x="16631" y="4282"/>
                </a:lnTo>
                <a:cubicBezTo>
                  <a:pt x="15835" y="4866"/>
                  <a:pt x="14797" y="4817"/>
                  <a:pt x="14044" y="4413"/>
                </a:cubicBezTo>
                <a:cubicBezTo>
                  <a:pt x="14014" y="4333"/>
                  <a:pt x="13990" y="4243"/>
                  <a:pt x="13973" y="4141"/>
                </a:cubicBezTo>
                <a:cubicBezTo>
                  <a:pt x="14004" y="4144"/>
                  <a:pt x="14031" y="4148"/>
                  <a:pt x="14059" y="4151"/>
                </a:cubicBezTo>
                <a:cubicBezTo>
                  <a:pt x="14580" y="4470"/>
                  <a:pt x="15623" y="4730"/>
                  <a:pt x="16492" y="4092"/>
                </a:cubicBezTo>
                <a:cubicBezTo>
                  <a:pt x="17126" y="3628"/>
                  <a:pt x="17505" y="2811"/>
                  <a:pt x="17505" y="1907"/>
                </a:cubicBezTo>
                <a:cubicBezTo>
                  <a:pt x="17505" y="1643"/>
                  <a:pt x="17290" y="1427"/>
                  <a:pt x="17025" y="1427"/>
                </a:cubicBezTo>
                <a:cubicBezTo>
                  <a:pt x="16761" y="1427"/>
                  <a:pt x="16546" y="1643"/>
                  <a:pt x="16546" y="1907"/>
                </a:cubicBezTo>
                <a:lnTo>
                  <a:pt x="16546" y="2024"/>
                </a:lnTo>
                <a:lnTo>
                  <a:pt x="16311" y="2024"/>
                </a:lnTo>
                <a:lnTo>
                  <a:pt x="16311" y="1907"/>
                </a:lnTo>
                <a:cubicBezTo>
                  <a:pt x="16311" y="1513"/>
                  <a:pt x="16631" y="1192"/>
                  <a:pt x="17025" y="1192"/>
                </a:cubicBezTo>
                <a:cubicBezTo>
                  <a:pt x="17419" y="1192"/>
                  <a:pt x="17740" y="1513"/>
                  <a:pt x="17740" y="1907"/>
                </a:cubicBezTo>
                <a:cubicBezTo>
                  <a:pt x="17740" y="2885"/>
                  <a:pt x="17325" y="3773"/>
                  <a:pt x="16631" y="4282"/>
                </a:cubicBezTo>
                <a:close/>
              </a:path>
            </a:pathLst>
          </a:custGeom>
          <a:solidFill>
            <a:srgbClr val="006FC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 name="Title 1">
            <a:extLst>
              <a:ext uri="{FF2B5EF4-FFF2-40B4-BE49-F238E27FC236}">
                <a16:creationId xmlns:a16="http://schemas.microsoft.com/office/drawing/2014/main" id="{BE40423F-B7EF-7848-8C6C-5503B745FE29}"/>
              </a:ext>
            </a:extLst>
          </p:cNvPr>
          <p:cNvSpPr>
            <a:spLocks noGrp="1"/>
          </p:cNvSpPr>
          <p:nvPr>
            <p:ph type="ctrTitle" hasCustomPrompt="1"/>
          </p:nvPr>
        </p:nvSpPr>
        <p:spPr>
          <a:xfrm>
            <a:off x="609601" y="553616"/>
            <a:ext cx="8412057" cy="1945744"/>
          </a:xfrm>
        </p:spPr>
        <p:txBody>
          <a:bodyPr anchor="b">
            <a:noAutofit/>
          </a:bodyPr>
          <a:lstStyle>
            <a:lvl1pPr algn="l">
              <a:defRPr sz="5333" spc="-107" baseline="0"/>
            </a:lvl1pPr>
          </a:lstStyle>
          <a:p>
            <a:r>
              <a:rPr lang="en-US"/>
              <a:t>Presentation title</a:t>
            </a:r>
          </a:p>
        </p:txBody>
      </p:sp>
      <p:sp>
        <p:nvSpPr>
          <p:cNvPr id="3" name="Subtitle 2">
            <a:extLst>
              <a:ext uri="{FF2B5EF4-FFF2-40B4-BE49-F238E27FC236}">
                <a16:creationId xmlns:a16="http://schemas.microsoft.com/office/drawing/2014/main" id="{802CC53A-60A0-F740-8E06-61421EAF572A}"/>
              </a:ext>
            </a:extLst>
          </p:cNvPr>
          <p:cNvSpPr>
            <a:spLocks noGrp="1"/>
          </p:cNvSpPr>
          <p:nvPr>
            <p:ph type="subTitle" idx="1" hasCustomPrompt="1"/>
          </p:nvPr>
        </p:nvSpPr>
        <p:spPr>
          <a:xfrm>
            <a:off x="609601" y="2682240"/>
            <a:ext cx="8412057" cy="609600"/>
          </a:xfrm>
        </p:spPr>
        <p:txBody>
          <a:bodyPr>
            <a:noAutofit/>
          </a:bodyPr>
          <a:lstStyle>
            <a:lvl1pPr marL="0" indent="0" algn="l">
              <a:spcBef>
                <a:spcPts val="0"/>
              </a:spcBef>
              <a:buNone/>
              <a:defRPr sz="1333" cap="all" baseline="0">
                <a:solidFill>
                  <a:schemeClr val="tx1"/>
                </a:solidFill>
                <a:latin typeface="+mn-lt"/>
              </a:defRPr>
            </a:lvl1pPr>
            <a:lvl2pPr marL="0" indent="0" algn="l">
              <a:spcBef>
                <a:spcPts val="0"/>
              </a:spcBef>
              <a:buNone/>
              <a:defRPr sz="1333" cap="all" baseline="0">
                <a:solidFill>
                  <a:schemeClr val="tx1"/>
                </a:solidFill>
                <a:latin typeface="+mn-lt"/>
              </a:defRPr>
            </a:lvl2pPr>
            <a:lvl3pPr marL="0" indent="0" algn="l">
              <a:spcBef>
                <a:spcPts val="0"/>
              </a:spcBef>
              <a:buNone/>
              <a:defRPr sz="1333" cap="all" baseline="0">
                <a:solidFill>
                  <a:schemeClr val="tx1"/>
                </a:solidFill>
                <a:latin typeface="+mn-lt"/>
              </a:defRPr>
            </a:lvl3pPr>
            <a:lvl4pPr marL="0" indent="0" algn="l">
              <a:spcBef>
                <a:spcPts val="0"/>
              </a:spcBef>
              <a:buNone/>
              <a:defRPr sz="1333" cap="all" baseline="0">
                <a:solidFill>
                  <a:schemeClr val="tx1"/>
                </a:solidFill>
                <a:latin typeface="+mn-lt"/>
              </a:defRPr>
            </a:lvl4pPr>
            <a:lvl5pPr marL="0" indent="0" algn="l">
              <a:spcBef>
                <a:spcPts val="0"/>
              </a:spcBef>
              <a:buNone/>
              <a:defRPr sz="1333" cap="all" baseline="0">
                <a:solidFill>
                  <a:schemeClr val="tx1"/>
                </a:solidFill>
                <a:latin typeface="+mn-lt"/>
              </a:defRPr>
            </a:lvl5pPr>
            <a:lvl6pPr marL="0" indent="0" algn="l">
              <a:spcBef>
                <a:spcPts val="0"/>
              </a:spcBef>
              <a:buNone/>
              <a:defRPr sz="1333" cap="all" baseline="0">
                <a:solidFill>
                  <a:schemeClr val="tx1"/>
                </a:solidFill>
                <a:latin typeface="+mn-lt"/>
              </a:defRPr>
            </a:lvl6pPr>
            <a:lvl7pPr marL="0" indent="0" algn="l">
              <a:spcBef>
                <a:spcPts val="0"/>
              </a:spcBef>
              <a:buNone/>
              <a:defRPr sz="1333" cap="all" baseline="0">
                <a:solidFill>
                  <a:schemeClr val="tx1"/>
                </a:solidFill>
                <a:latin typeface="+mn-lt"/>
              </a:defRPr>
            </a:lvl7pPr>
            <a:lvl8pPr marL="0" indent="0" algn="l">
              <a:spcBef>
                <a:spcPts val="0"/>
              </a:spcBef>
              <a:buNone/>
              <a:defRPr sz="1333" cap="all" baseline="0">
                <a:solidFill>
                  <a:schemeClr val="tx1"/>
                </a:solidFill>
                <a:latin typeface="+mn-lt"/>
              </a:defRPr>
            </a:lvl8pPr>
            <a:lvl9pPr marL="0" indent="0" algn="l">
              <a:spcBef>
                <a:spcPts val="0"/>
              </a:spcBef>
              <a:buNone/>
              <a:defRPr sz="1333" cap="all" baseline="0">
                <a:solidFill>
                  <a:schemeClr val="tx1"/>
                </a:solidFill>
                <a:latin typeface="+mn-lt"/>
              </a:defRPr>
            </a:lvl9pPr>
          </a:lstStyle>
          <a:p>
            <a:r>
              <a:rPr lang="en-US"/>
              <a:t>MONTH 00, 0000  |  PRESENTER NAME</a:t>
            </a:r>
          </a:p>
        </p:txBody>
      </p:sp>
      <p:pic>
        <p:nvPicPr>
          <p:cNvPr id="5" name="Picture 4">
            <a:extLst>
              <a:ext uri="{FF2B5EF4-FFF2-40B4-BE49-F238E27FC236}">
                <a16:creationId xmlns:a16="http://schemas.microsoft.com/office/drawing/2014/main" id="{C035A740-0F78-404E-8D2B-CA4E32C87F7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59087" y="6042361"/>
            <a:ext cx="2670048" cy="463908"/>
          </a:xfrm>
          <a:prstGeom prst="rect">
            <a:avLst/>
          </a:prstGeom>
        </p:spPr>
      </p:pic>
      <p:pic>
        <p:nvPicPr>
          <p:cNvPr id="6" name="Picture 5">
            <a:extLst>
              <a:ext uri="{FF2B5EF4-FFF2-40B4-BE49-F238E27FC236}">
                <a16:creationId xmlns:a16="http://schemas.microsoft.com/office/drawing/2014/main" id="{C87D1B5C-558A-7A43-A7F3-CC5277A30BC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9007" y="5907194"/>
            <a:ext cx="734244" cy="734244"/>
          </a:xfrm>
          <a:prstGeom prst="rect">
            <a:avLst/>
          </a:prstGeom>
        </p:spPr>
      </p:pic>
    </p:spTree>
    <p:extLst>
      <p:ext uri="{BB962C8B-B14F-4D97-AF65-F5344CB8AC3E}">
        <p14:creationId xmlns:p14="http://schemas.microsoft.com/office/powerpoint/2010/main" val="2848486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AA6FDF6-B9A7-5F49-B175-D05D851355EE}"/>
              </a:ext>
            </a:extLst>
          </p:cNvPr>
          <p:cNvSpPr>
            <a:spLocks noGrp="1"/>
          </p:cNvSpPr>
          <p:nvPr>
            <p:ph idx="1"/>
          </p:nvPr>
        </p:nvSpPr>
        <p:spPr>
          <a:xfrm>
            <a:off x="609600" y="1645920"/>
            <a:ext cx="10972800" cy="4267200"/>
          </a:xfrm>
        </p:spPr>
        <p:txBody>
          <a:bodyPr numCol="2" spcCol="274320"/>
          <a:lstStyle>
            <a:lvl1pPr marL="304792" indent="-304792">
              <a:buClr>
                <a:schemeClr val="bg2"/>
              </a:buClr>
              <a:buSzPct val="100000"/>
              <a:buFont typeface="Arial" panose="020B0604020202020204" pitchFamily="34" charset="0"/>
              <a:buChar char="•"/>
              <a:defRPr/>
            </a:lvl1pPr>
            <a:lvl2pPr marL="536435">
              <a:defRPr sz="1467"/>
            </a:lvl2pPr>
            <a:lvl3pPr marL="755885">
              <a:defRPr sz="1333"/>
            </a:lvl3pPr>
            <a:lvl4pPr marL="987527">
              <a:defRPr sz="1200"/>
            </a:lvl4pPr>
            <a:lvl5pPr marL="1219170">
              <a:defRPr sz="1067"/>
            </a:lvl5pPr>
            <a:lvl6pPr marL="1450812">
              <a:defRPr/>
            </a:lvl6pPr>
            <a:lvl7pPr marL="1682454">
              <a:defRPr/>
            </a:lvl7pPr>
            <a:lvl8pPr marL="1901904">
              <a:defRPr/>
            </a:lvl8pPr>
            <a:lvl9pPr marL="2133547">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4E88BEA0-B852-C147-BBD3-C95859B2A069}"/>
              </a:ext>
            </a:extLst>
          </p:cNvPr>
          <p:cNvSpPr>
            <a:spLocks noGrp="1"/>
          </p:cNvSpPr>
          <p:nvPr>
            <p:ph type="sldNum" sz="quarter" idx="10"/>
          </p:nvPr>
        </p:nvSpPr>
        <p:spPr>
          <a:xfrm>
            <a:off x="10972800" y="6297507"/>
            <a:ext cx="609600" cy="306493"/>
          </a:xfrm>
          <a:prstGeom prst="rect">
            <a:avLst/>
          </a:prstGeom>
        </p:spPr>
        <p:txBody>
          <a:bodyPr/>
          <a:lstStyle/>
          <a:p>
            <a:fld id="{E59C716A-E560-2D44-8739-72D446B232A5}" type="slidenum">
              <a:rPr lang="en-US" smtClean="0"/>
              <a:pPr/>
              <a:t>‹#›</a:t>
            </a:fld>
            <a:endParaRPr lang="en-US"/>
          </a:p>
        </p:txBody>
      </p:sp>
      <p:sp>
        <p:nvSpPr>
          <p:cNvPr id="5" name="Subtitle 2">
            <a:extLst>
              <a:ext uri="{FF2B5EF4-FFF2-40B4-BE49-F238E27FC236}">
                <a16:creationId xmlns:a16="http://schemas.microsoft.com/office/drawing/2014/main" id="{86AEB0BD-88C3-E14D-9931-51C84CB22D5C}"/>
              </a:ext>
            </a:extLst>
          </p:cNvPr>
          <p:cNvSpPr>
            <a:spLocks noGrp="1"/>
          </p:cNvSpPr>
          <p:nvPr>
            <p:ph type="subTitle" idx="11" hasCustomPrompt="1"/>
          </p:nvPr>
        </p:nvSpPr>
        <p:spPr>
          <a:xfrm>
            <a:off x="609600" y="1094795"/>
            <a:ext cx="10972800" cy="365707"/>
          </a:xfrm>
        </p:spPr>
        <p:txBody>
          <a:bodyPr tIns="18288">
            <a:noAutofit/>
          </a:bodyPr>
          <a:lstStyle>
            <a:lvl1pPr marL="0" indent="0" algn="l">
              <a:lnSpc>
                <a:spcPct val="100000"/>
              </a:lnSpc>
              <a:spcBef>
                <a:spcPts val="0"/>
              </a:spcBef>
              <a:buNone/>
              <a:defRPr sz="1333" cap="none" spc="0" baseline="0">
                <a:solidFill>
                  <a:schemeClr val="tx1"/>
                </a:solidFill>
                <a:latin typeface="+mn-lt"/>
              </a:defRPr>
            </a:lvl1pPr>
            <a:lvl2pPr marL="0" indent="0" algn="l">
              <a:lnSpc>
                <a:spcPct val="100000"/>
              </a:lnSpc>
              <a:spcBef>
                <a:spcPts val="0"/>
              </a:spcBef>
              <a:buNone/>
              <a:defRPr sz="1333" cap="all" spc="0" baseline="0">
                <a:solidFill>
                  <a:schemeClr val="tx1"/>
                </a:solidFill>
                <a:latin typeface="+mn-lt"/>
              </a:defRPr>
            </a:lvl2pPr>
            <a:lvl3pPr marL="0" indent="0" algn="l">
              <a:lnSpc>
                <a:spcPct val="100000"/>
              </a:lnSpc>
              <a:spcBef>
                <a:spcPts val="0"/>
              </a:spcBef>
              <a:buNone/>
              <a:defRPr sz="1333" cap="all" spc="0" baseline="0">
                <a:solidFill>
                  <a:schemeClr val="tx1"/>
                </a:solidFill>
                <a:latin typeface="+mn-lt"/>
              </a:defRPr>
            </a:lvl3pPr>
            <a:lvl4pPr marL="0" indent="0" algn="l">
              <a:lnSpc>
                <a:spcPct val="100000"/>
              </a:lnSpc>
              <a:spcBef>
                <a:spcPts val="0"/>
              </a:spcBef>
              <a:buNone/>
              <a:defRPr sz="1333" cap="all" spc="0" baseline="0">
                <a:solidFill>
                  <a:schemeClr val="tx1"/>
                </a:solidFill>
                <a:latin typeface="+mn-lt"/>
              </a:defRPr>
            </a:lvl4pPr>
            <a:lvl5pPr marL="0" indent="0" algn="l">
              <a:lnSpc>
                <a:spcPct val="100000"/>
              </a:lnSpc>
              <a:spcBef>
                <a:spcPts val="0"/>
              </a:spcBef>
              <a:buNone/>
              <a:defRPr sz="1333" cap="all" spc="0" baseline="0">
                <a:solidFill>
                  <a:schemeClr val="tx1"/>
                </a:solidFill>
                <a:latin typeface="+mn-lt"/>
              </a:defRPr>
            </a:lvl5pPr>
            <a:lvl6pPr marL="0" indent="0" algn="l">
              <a:lnSpc>
                <a:spcPct val="100000"/>
              </a:lnSpc>
              <a:spcBef>
                <a:spcPts val="0"/>
              </a:spcBef>
              <a:buNone/>
              <a:defRPr sz="1333" cap="all" spc="0" baseline="0">
                <a:solidFill>
                  <a:schemeClr val="tx1"/>
                </a:solidFill>
                <a:latin typeface="+mn-lt"/>
              </a:defRPr>
            </a:lvl6pPr>
            <a:lvl7pPr marL="0" indent="0" algn="l">
              <a:lnSpc>
                <a:spcPct val="100000"/>
              </a:lnSpc>
              <a:spcBef>
                <a:spcPts val="0"/>
              </a:spcBef>
              <a:buNone/>
              <a:defRPr sz="1333" cap="all" spc="0" baseline="0">
                <a:solidFill>
                  <a:schemeClr val="tx1"/>
                </a:solidFill>
                <a:latin typeface="+mn-lt"/>
              </a:defRPr>
            </a:lvl7pPr>
            <a:lvl8pPr marL="0" indent="0" algn="l">
              <a:lnSpc>
                <a:spcPct val="100000"/>
              </a:lnSpc>
              <a:spcBef>
                <a:spcPts val="0"/>
              </a:spcBef>
              <a:buNone/>
              <a:defRPr sz="1333" cap="all" spc="0" baseline="0">
                <a:solidFill>
                  <a:schemeClr val="tx1"/>
                </a:solidFill>
                <a:latin typeface="+mn-lt"/>
              </a:defRPr>
            </a:lvl8pPr>
            <a:lvl9pPr marL="0" indent="0" algn="l">
              <a:lnSpc>
                <a:spcPct val="100000"/>
              </a:lnSpc>
              <a:spcBef>
                <a:spcPts val="0"/>
              </a:spcBef>
              <a:buNone/>
              <a:defRPr sz="1333" cap="all" spc="0" baseline="0">
                <a:solidFill>
                  <a:schemeClr val="tx1"/>
                </a:solidFill>
                <a:latin typeface="+mn-lt"/>
              </a:defRPr>
            </a:lvl9pPr>
          </a:lstStyle>
          <a:p>
            <a:r>
              <a:rPr lang="en-US"/>
              <a:t>Slide subtitle</a:t>
            </a:r>
          </a:p>
        </p:txBody>
      </p:sp>
      <p:sp>
        <p:nvSpPr>
          <p:cNvPr id="6" name="Title 5">
            <a:extLst>
              <a:ext uri="{FF2B5EF4-FFF2-40B4-BE49-F238E27FC236}">
                <a16:creationId xmlns:a16="http://schemas.microsoft.com/office/drawing/2014/main" id="{65B5E1D0-AE0A-0143-9707-C1606290568A}"/>
              </a:ext>
            </a:extLst>
          </p:cNvPr>
          <p:cNvSpPr>
            <a:spLocks noGrp="1"/>
          </p:cNvSpPr>
          <p:nvPr>
            <p:ph type="title" hasCustomPrompt="1"/>
          </p:nvPr>
        </p:nvSpPr>
        <p:spPr>
          <a:xfrm>
            <a:off x="609600" y="548641"/>
            <a:ext cx="10972800" cy="546155"/>
          </a:xfrm>
        </p:spPr>
        <p:txBody>
          <a:bodyPr/>
          <a:lstStyle/>
          <a:p>
            <a:r>
              <a:rPr lang="en-US"/>
              <a:t>Slide title</a:t>
            </a:r>
          </a:p>
        </p:txBody>
      </p:sp>
    </p:spTree>
    <p:extLst>
      <p:ext uri="{BB962C8B-B14F-4D97-AF65-F5344CB8AC3E}">
        <p14:creationId xmlns:p14="http://schemas.microsoft.com/office/powerpoint/2010/main" val="4086949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26060826"/>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AA6FDF6-B9A7-5F49-B175-D05D851355EE}"/>
              </a:ext>
            </a:extLst>
          </p:cNvPr>
          <p:cNvSpPr>
            <a:spLocks noGrp="1"/>
          </p:cNvSpPr>
          <p:nvPr>
            <p:ph idx="1"/>
          </p:nvPr>
        </p:nvSpPr>
        <p:spPr>
          <a:xfrm>
            <a:off x="609601" y="1645920"/>
            <a:ext cx="9266767" cy="4267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4E88BEA0-B852-C147-BBD3-C95859B2A069}"/>
              </a:ext>
            </a:extLst>
          </p:cNvPr>
          <p:cNvSpPr>
            <a:spLocks noGrp="1"/>
          </p:cNvSpPr>
          <p:nvPr>
            <p:ph type="sldNum" sz="quarter" idx="10"/>
          </p:nvPr>
        </p:nvSpPr>
        <p:spPr>
          <a:xfrm>
            <a:off x="10972800" y="6297507"/>
            <a:ext cx="609600" cy="306493"/>
          </a:xfrm>
          <a:prstGeom prst="rect">
            <a:avLst/>
          </a:prstGeom>
        </p:spPr>
        <p:txBody>
          <a:bodyPr/>
          <a:lstStyle/>
          <a:p>
            <a:fld id="{E59C716A-E560-2D44-8739-72D446B232A5}" type="slidenum">
              <a:rPr lang="en-US" smtClean="0"/>
              <a:pPr/>
              <a:t>‹#›</a:t>
            </a:fld>
            <a:endParaRPr lang="en-US"/>
          </a:p>
        </p:txBody>
      </p:sp>
      <p:sp>
        <p:nvSpPr>
          <p:cNvPr id="6" name="Title 5">
            <a:extLst>
              <a:ext uri="{FF2B5EF4-FFF2-40B4-BE49-F238E27FC236}">
                <a16:creationId xmlns:a16="http://schemas.microsoft.com/office/drawing/2014/main" id="{65B5E1D0-AE0A-0143-9707-C1606290568A}"/>
              </a:ext>
            </a:extLst>
          </p:cNvPr>
          <p:cNvSpPr>
            <a:spLocks noGrp="1"/>
          </p:cNvSpPr>
          <p:nvPr>
            <p:ph type="title" hasCustomPrompt="1"/>
          </p:nvPr>
        </p:nvSpPr>
        <p:spPr/>
        <p:txBody>
          <a:bodyPr/>
          <a:lstStyle/>
          <a:p>
            <a:r>
              <a:rPr lang="en-US"/>
              <a:t>Slide title</a:t>
            </a:r>
          </a:p>
        </p:txBody>
      </p:sp>
    </p:spTree>
    <p:extLst>
      <p:ext uri="{BB962C8B-B14F-4D97-AF65-F5344CB8AC3E}">
        <p14:creationId xmlns:p14="http://schemas.microsoft.com/office/powerpoint/2010/main" val="3654391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imple Grid Cover 2">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C9D26608-0597-7C4B-9906-20231F2ADE9A}"/>
              </a:ext>
            </a:extLst>
          </p:cNvPr>
          <p:cNvPicPr>
            <a:picLocks noChangeAspect="1"/>
          </p:cNvPicPr>
          <p:nvPr/>
        </p:nvPicPr>
        <p:blipFill rotWithShape="1">
          <a:blip r:embed="rId2"/>
          <a:srcRect l="6810" t="13502" r="58909" b="52218"/>
          <a:stretch/>
        </p:blipFill>
        <p:spPr>
          <a:xfrm>
            <a:off x="0" y="0"/>
            <a:ext cx="6096000" cy="3429000"/>
          </a:xfrm>
          <a:prstGeom prst="rect">
            <a:avLst/>
          </a:prstGeom>
          <a:solidFill>
            <a:srgbClr val="00175A"/>
          </a:solidFill>
        </p:spPr>
      </p:pic>
      <p:sp>
        <p:nvSpPr>
          <p:cNvPr id="7" name="Rectangle 6">
            <a:extLst>
              <a:ext uri="{FF2B5EF4-FFF2-40B4-BE49-F238E27FC236}">
                <a16:creationId xmlns:a16="http://schemas.microsoft.com/office/drawing/2014/main" id="{C9976F40-7C4B-48F0-AE60-40C0BAA00030}"/>
              </a:ext>
            </a:extLst>
          </p:cNvPr>
          <p:cNvSpPr/>
          <p:nvPr/>
        </p:nvSpPr>
        <p:spPr>
          <a:xfrm>
            <a:off x="-1172" y="3428998"/>
            <a:ext cx="6096000" cy="3429001"/>
          </a:xfrm>
          <a:prstGeom prst="rect">
            <a:avLst/>
          </a:prstGeom>
          <a:solidFill>
            <a:srgbClr val="006F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4400" b="0" i="0">
              <a:solidFill>
                <a:schemeClr val="bg1"/>
              </a:solidFill>
              <a:latin typeface="Benton Sans Light" panose="02000404020000020004" pitchFamily="2" charset="77"/>
            </a:endParaRPr>
          </a:p>
        </p:txBody>
      </p:sp>
      <p:pic>
        <p:nvPicPr>
          <p:cNvPr id="15" name="Picture 14" descr="Logo&#10;&#10;Description automatically generated">
            <a:extLst>
              <a:ext uri="{FF2B5EF4-FFF2-40B4-BE49-F238E27FC236}">
                <a16:creationId xmlns:a16="http://schemas.microsoft.com/office/drawing/2014/main" id="{4C1DEEA9-2B21-5244-8451-E3468667743A}"/>
              </a:ext>
            </a:extLst>
          </p:cNvPr>
          <p:cNvPicPr>
            <a:picLocks noChangeAspect="1"/>
          </p:cNvPicPr>
          <p:nvPr/>
        </p:nvPicPr>
        <p:blipFill rotWithShape="1">
          <a:blip r:embed="rId3"/>
          <a:srcRect l="8366" r="-517"/>
          <a:stretch/>
        </p:blipFill>
        <p:spPr>
          <a:xfrm>
            <a:off x="0" y="2585299"/>
            <a:ext cx="6970642" cy="1554882"/>
          </a:xfrm>
          <a:prstGeom prst="rect">
            <a:avLst/>
          </a:prstGeom>
        </p:spPr>
      </p:pic>
      <p:sp>
        <p:nvSpPr>
          <p:cNvPr id="9" name="Content Placeholder 2">
            <a:extLst>
              <a:ext uri="{FF2B5EF4-FFF2-40B4-BE49-F238E27FC236}">
                <a16:creationId xmlns:a16="http://schemas.microsoft.com/office/drawing/2014/main" id="{203A68B0-0D8B-4C0A-BDC2-27F9AB51A2B0}"/>
              </a:ext>
            </a:extLst>
          </p:cNvPr>
          <p:cNvSpPr>
            <a:spLocks noGrp="1"/>
          </p:cNvSpPr>
          <p:nvPr>
            <p:ph sz="half" idx="1" hasCustomPrompt="1"/>
          </p:nvPr>
        </p:nvSpPr>
        <p:spPr>
          <a:xfrm>
            <a:off x="809226" y="6056306"/>
            <a:ext cx="4475205" cy="341632"/>
          </a:xfrm>
          <a:prstGeom prst="rect">
            <a:avLst/>
          </a:prstGeom>
        </p:spPr>
        <p:txBody>
          <a:bodyPr wrap="square">
            <a:spAutoFit/>
          </a:bodyPr>
          <a:lstStyle>
            <a:lvl1pPr marL="0" indent="0" algn="ctr">
              <a:buNone/>
              <a:defRPr sz="1800" b="0" i="0" spc="300">
                <a:solidFill>
                  <a:srgbClr val="00175A"/>
                </a:solidFill>
                <a:latin typeface="BentonSans Bold" panose="02000503000000020004" pitchFamily="2" charset="0"/>
              </a:defRPr>
            </a:lvl1pPr>
          </a:lstStyle>
          <a:p>
            <a:pPr lvl="0"/>
            <a:r>
              <a:rPr lang="en-US"/>
              <a:t>SUBHEADER OR DATE HERE</a:t>
            </a:r>
          </a:p>
        </p:txBody>
      </p:sp>
      <p:sp>
        <p:nvSpPr>
          <p:cNvPr id="8" name="Title 1">
            <a:extLst>
              <a:ext uri="{FF2B5EF4-FFF2-40B4-BE49-F238E27FC236}">
                <a16:creationId xmlns:a16="http://schemas.microsoft.com/office/drawing/2014/main" id="{872CE3CE-E5E3-47E4-ACAF-61EEE331DF85}"/>
              </a:ext>
            </a:extLst>
          </p:cNvPr>
          <p:cNvSpPr>
            <a:spLocks noGrp="1"/>
          </p:cNvSpPr>
          <p:nvPr>
            <p:ph type="title" hasCustomPrompt="1"/>
          </p:nvPr>
        </p:nvSpPr>
        <p:spPr>
          <a:xfrm>
            <a:off x="7200888" y="2699958"/>
            <a:ext cx="4475205" cy="1325563"/>
          </a:xfrm>
          <a:prstGeom prst="rect">
            <a:avLst/>
          </a:prstGeom>
        </p:spPr>
        <p:txBody>
          <a:bodyPr>
            <a:normAutofit/>
          </a:bodyPr>
          <a:lstStyle>
            <a:lvl1pPr algn="ctr">
              <a:defRPr sz="4400">
                <a:solidFill>
                  <a:srgbClr val="0070C0"/>
                </a:solidFill>
                <a:latin typeface="+mj-lt"/>
              </a:defRPr>
            </a:lvl1pPr>
          </a:lstStyle>
          <a:p>
            <a:r>
              <a:rPr lang="en-US"/>
              <a:t>Click to add title</a:t>
            </a:r>
          </a:p>
        </p:txBody>
      </p:sp>
      <p:pic>
        <p:nvPicPr>
          <p:cNvPr id="4" name="Picture 3">
            <a:extLst>
              <a:ext uri="{FF2B5EF4-FFF2-40B4-BE49-F238E27FC236}">
                <a16:creationId xmlns:a16="http://schemas.microsoft.com/office/drawing/2014/main" id="{47239564-61F1-C64B-B06B-05CB662D232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452947" y="133860"/>
            <a:ext cx="2616133" cy="483655"/>
          </a:xfrm>
          <a:prstGeom prst="rect">
            <a:avLst/>
          </a:prstGeom>
        </p:spPr>
      </p:pic>
    </p:spTree>
    <p:extLst>
      <p:ext uri="{BB962C8B-B14F-4D97-AF65-F5344CB8AC3E}">
        <p14:creationId xmlns:p14="http://schemas.microsoft.com/office/powerpoint/2010/main" val="25265814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ne Column with Subtitl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AA6FDF6-B9A7-5F49-B175-D05D851355EE}"/>
              </a:ext>
            </a:extLst>
          </p:cNvPr>
          <p:cNvSpPr>
            <a:spLocks noGrp="1"/>
          </p:cNvSpPr>
          <p:nvPr>
            <p:ph idx="1"/>
          </p:nvPr>
        </p:nvSpPr>
        <p:spPr>
          <a:xfrm>
            <a:off x="609601" y="1645920"/>
            <a:ext cx="9266767" cy="4267200"/>
          </a:xfrm>
        </p:spPr>
        <p:txBody>
          <a:bodyPr/>
          <a:lstStyle>
            <a:lvl1pPr marL="228594" indent="-228594">
              <a:buFont typeface="Arial" panose="020B0604020202020204" pitchFamily="34" charset="0"/>
              <a:buChar char="•"/>
              <a:defRPr/>
            </a:lvl1pPr>
            <a:lvl2pPr>
              <a:defRPr sz="1467"/>
            </a:lvl2pPr>
            <a:lvl3pPr>
              <a:defRPr sz="1333"/>
            </a:lvl3pPr>
            <a:lvl4pPr>
              <a:defRPr sz="1200"/>
            </a:lvl4pPr>
            <a:lvl5pPr>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4E88BEA0-B852-C147-BBD3-C95859B2A069}"/>
              </a:ext>
            </a:extLst>
          </p:cNvPr>
          <p:cNvSpPr>
            <a:spLocks noGrp="1"/>
          </p:cNvSpPr>
          <p:nvPr>
            <p:ph type="sldNum" sz="quarter" idx="10"/>
          </p:nvPr>
        </p:nvSpPr>
        <p:spPr>
          <a:xfrm>
            <a:off x="10972800" y="6297507"/>
            <a:ext cx="609600" cy="306493"/>
          </a:xfrm>
          <a:prstGeom prst="rect">
            <a:avLst/>
          </a:prstGeom>
        </p:spPr>
        <p:txBody>
          <a:bodyPr/>
          <a:lstStyle/>
          <a:p>
            <a:fld id="{E59C716A-E560-2D44-8739-72D446B232A5}" type="slidenum">
              <a:rPr lang="en-US" smtClean="0"/>
              <a:pPr/>
              <a:t>‹#›</a:t>
            </a:fld>
            <a:endParaRPr lang="en-US"/>
          </a:p>
        </p:txBody>
      </p:sp>
      <p:sp>
        <p:nvSpPr>
          <p:cNvPr id="5" name="Subtitle 2">
            <a:extLst>
              <a:ext uri="{FF2B5EF4-FFF2-40B4-BE49-F238E27FC236}">
                <a16:creationId xmlns:a16="http://schemas.microsoft.com/office/drawing/2014/main" id="{86AEB0BD-88C3-E14D-9931-51C84CB22D5C}"/>
              </a:ext>
            </a:extLst>
          </p:cNvPr>
          <p:cNvSpPr>
            <a:spLocks noGrp="1"/>
          </p:cNvSpPr>
          <p:nvPr>
            <p:ph type="subTitle" idx="11" hasCustomPrompt="1"/>
          </p:nvPr>
        </p:nvSpPr>
        <p:spPr>
          <a:xfrm>
            <a:off x="609600" y="1094795"/>
            <a:ext cx="10972800" cy="365707"/>
          </a:xfrm>
        </p:spPr>
        <p:txBody>
          <a:bodyPr tIns="18288">
            <a:noAutofit/>
          </a:bodyPr>
          <a:lstStyle>
            <a:lvl1pPr marL="0" indent="0" algn="l">
              <a:lnSpc>
                <a:spcPct val="100000"/>
              </a:lnSpc>
              <a:spcBef>
                <a:spcPts val="0"/>
              </a:spcBef>
              <a:buNone/>
              <a:defRPr sz="1333" cap="none" spc="0" baseline="0">
                <a:solidFill>
                  <a:schemeClr val="tx1"/>
                </a:solidFill>
                <a:latin typeface="+mn-lt"/>
              </a:defRPr>
            </a:lvl1pPr>
            <a:lvl2pPr marL="0" indent="0" algn="l">
              <a:lnSpc>
                <a:spcPct val="100000"/>
              </a:lnSpc>
              <a:spcBef>
                <a:spcPts val="0"/>
              </a:spcBef>
              <a:buNone/>
              <a:defRPr sz="1333" cap="all" spc="0" baseline="0">
                <a:solidFill>
                  <a:schemeClr val="tx1"/>
                </a:solidFill>
                <a:latin typeface="+mn-lt"/>
              </a:defRPr>
            </a:lvl2pPr>
            <a:lvl3pPr marL="0" indent="0" algn="l">
              <a:lnSpc>
                <a:spcPct val="100000"/>
              </a:lnSpc>
              <a:spcBef>
                <a:spcPts val="0"/>
              </a:spcBef>
              <a:buNone/>
              <a:defRPr sz="1333" cap="all" spc="0" baseline="0">
                <a:solidFill>
                  <a:schemeClr val="tx1"/>
                </a:solidFill>
                <a:latin typeface="+mn-lt"/>
              </a:defRPr>
            </a:lvl3pPr>
            <a:lvl4pPr marL="0" indent="0" algn="l">
              <a:lnSpc>
                <a:spcPct val="100000"/>
              </a:lnSpc>
              <a:spcBef>
                <a:spcPts val="0"/>
              </a:spcBef>
              <a:buNone/>
              <a:defRPr sz="1333" cap="all" spc="0" baseline="0">
                <a:solidFill>
                  <a:schemeClr val="tx1"/>
                </a:solidFill>
                <a:latin typeface="+mn-lt"/>
              </a:defRPr>
            </a:lvl4pPr>
            <a:lvl5pPr marL="0" indent="0" algn="l">
              <a:lnSpc>
                <a:spcPct val="100000"/>
              </a:lnSpc>
              <a:spcBef>
                <a:spcPts val="0"/>
              </a:spcBef>
              <a:buNone/>
              <a:defRPr sz="1333" cap="all" spc="0" baseline="0">
                <a:solidFill>
                  <a:schemeClr val="tx1"/>
                </a:solidFill>
                <a:latin typeface="+mn-lt"/>
              </a:defRPr>
            </a:lvl5pPr>
            <a:lvl6pPr marL="0" indent="0" algn="l">
              <a:lnSpc>
                <a:spcPct val="100000"/>
              </a:lnSpc>
              <a:spcBef>
                <a:spcPts val="0"/>
              </a:spcBef>
              <a:buNone/>
              <a:defRPr sz="1333" cap="all" spc="0" baseline="0">
                <a:solidFill>
                  <a:schemeClr val="tx1"/>
                </a:solidFill>
                <a:latin typeface="+mn-lt"/>
              </a:defRPr>
            </a:lvl6pPr>
            <a:lvl7pPr marL="0" indent="0" algn="l">
              <a:lnSpc>
                <a:spcPct val="100000"/>
              </a:lnSpc>
              <a:spcBef>
                <a:spcPts val="0"/>
              </a:spcBef>
              <a:buNone/>
              <a:defRPr sz="1333" cap="all" spc="0" baseline="0">
                <a:solidFill>
                  <a:schemeClr val="tx1"/>
                </a:solidFill>
                <a:latin typeface="+mn-lt"/>
              </a:defRPr>
            </a:lvl7pPr>
            <a:lvl8pPr marL="0" indent="0" algn="l">
              <a:lnSpc>
                <a:spcPct val="100000"/>
              </a:lnSpc>
              <a:spcBef>
                <a:spcPts val="0"/>
              </a:spcBef>
              <a:buNone/>
              <a:defRPr sz="1333" cap="all" spc="0" baseline="0">
                <a:solidFill>
                  <a:schemeClr val="tx1"/>
                </a:solidFill>
                <a:latin typeface="+mn-lt"/>
              </a:defRPr>
            </a:lvl8pPr>
            <a:lvl9pPr marL="0" indent="0" algn="l">
              <a:lnSpc>
                <a:spcPct val="100000"/>
              </a:lnSpc>
              <a:spcBef>
                <a:spcPts val="0"/>
              </a:spcBef>
              <a:buNone/>
              <a:defRPr sz="1333" cap="all" spc="0" baseline="0">
                <a:solidFill>
                  <a:schemeClr val="tx1"/>
                </a:solidFill>
                <a:latin typeface="+mn-lt"/>
              </a:defRPr>
            </a:lvl9pPr>
          </a:lstStyle>
          <a:p>
            <a:r>
              <a:rPr lang="en-US"/>
              <a:t>Slide subtitle</a:t>
            </a:r>
          </a:p>
        </p:txBody>
      </p:sp>
      <p:sp>
        <p:nvSpPr>
          <p:cNvPr id="6" name="Title 5">
            <a:extLst>
              <a:ext uri="{FF2B5EF4-FFF2-40B4-BE49-F238E27FC236}">
                <a16:creationId xmlns:a16="http://schemas.microsoft.com/office/drawing/2014/main" id="{65B5E1D0-AE0A-0143-9707-C1606290568A}"/>
              </a:ext>
            </a:extLst>
          </p:cNvPr>
          <p:cNvSpPr>
            <a:spLocks noGrp="1"/>
          </p:cNvSpPr>
          <p:nvPr>
            <p:ph type="title" hasCustomPrompt="1"/>
          </p:nvPr>
        </p:nvSpPr>
        <p:spPr>
          <a:xfrm>
            <a:off x="609600" y="548641"/>
            <a:ext cx="10972800" cy="546155"/>
          </a:xfrm>
        </p:spPr>
        <p:txBody>
          <a:bodyPr/>
          <a:lstStyle/>
          <a:p>
            <a:r>
              <a:rPr lang="en-US"/>
              <a:t>Slide title</a:t>
            </a:r>
          </a:p>
        </p:txBody>
      </p:sp>
    </p:spTree>
    <p:extLst>
      <p:ext uri="{BB962C8B-B14F-4D97-AF65-F5344CB8AC3E}">
        <p14:creationId xmlns:p14="http://schemas.microsoft.com/office/powerpoint/2010/main" val="3611950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C83F4-60A8-C949-A8DD-B3528604AE69}"/>
              </a:ext>
            </a:extLst>
          </p:cNvPr>
          <p:cNvSpPr>
            <a:spLocks noGrp="1"/>
          </p:cNvSpPr>
          <p:nvPr>
            <p:ph type="title" hasCustomPrompt="1"/>
          </p:nvPr>
        </p:nvSpPr>
        <p:spPr>
          <a:xfrm>
            <a:off x="609600" y="548641"/>
            <a:ext cx="10972800" cy="911860"/>
          </a:xfrm>
        </p:spPr>
        <p:txBody>
          <a:bodyPr/>
          <a:lstStyle/>
          <a:p>
            <a:r>
              <a:rPr lang="en-US"/>
              <a:t>Slide title</a:t>
            </a:r>
          </a:p>
        </p:txBody>
      </p:sp>
      <p:sp>
        <p:nvSpPr>
          <p:cNvPr id="3" name="Content Placeholder 2">
            <a:extLst>
              <a:ext uri="{FF2B5EF4-FFF2-40B4-BE49-F238E27FC236}">
                <a16:creationId xmlns:a16="http://schemas.microsoft.com/office/drawing/2014/main" id="{BF75B61E-684B-C244-94A3-0231FA64E7CF}"/>
              </a:ext>
            </a:extLst>
          </p:cNvPr>
          <p:cNvSpPr>
            <a:spLocks noGrp="1"/>
          </p:cNvSpPr>
          <p:nvPr>
            <p:ph sz="half" idx="1"/>
          </p:nvPr>
        </p:nvSpPr>
        <p:spPr>
          <a:xfrm>
            <a:off x="609602" y="1642534"/>
            <a:ext cx="5303309" cy="4271433"/>
          </a:xfrm>
        </p:spPr>
        <p:txBody>
          <a:bodyPr/>
          <a:lstStyle>
            <a:lvl1pPr>
              <a:defRPr/>
            </a:lvl1pPr>
            <a:lvl2pPr>
              <a:defRPr sz="1467"/>
            </a:lvl2pPr>
            <a:lvl3pPr>
              <a:defRPr sz="1333"/>
            </a:lvl3pPr>
            <a:lvl4pPr>
              <a:defRPr sz="1200"/>
            </a:lvl4pPr>
            <a:lvl5pPr>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0D78C27-CA07-1947-9DFE-5ED58D75911C}"/>
              </a:ext>
            </a:extLst>
          </p:cNvPr>
          <p:cNvSpPr>
            <a:spLocks noGrp="1"/>
          </p:cNvSpPr>
          <p:nvPr>
            <p:ph sz="half" idx="2"/>
          </p:nvPr>
        </p:nvSpPr>
        <p:spPr>
          <a:xfrm>
            <a:off x="6279091" y="1642534"/>
            <a:ext cx="5303308" cy="4271433"/>
          </a:xfrm>
        </p:spPr>
        <p:txBody>
          <a:bodyPr>
            <a:normAutofit/>
          </a:bodyPr>
          <a:lstStyle>
            <a:lvl1pPr indent="-228594" algn="l" defTabSz="914377" rtl="0" eaLnBrk="1" latinLnBrk="0" hangingPunct="1">
              <a:lnSpc>
                <a:spcPct val="120000"/>
              </a:lnSpc>
              <a:buFont typeface="Arial" panose="020B0604020202020204" pitchFamily="34" charset="0"/>
              <a:defRPr lang="en-US" sz="1600" kern="1200" dirty="0" smtClean="0">
                <a:solidFill>
                  <a:schemeClr val="tx1"/>
                </a:solidFill>
                <a:latin typeface="+mn-lt"/>
                <a:ea typeface="+mn-ea"/>
                <a:cs typeface="+mn-cs"/>
              </a:defRPr>
            </a:lvl1pPr>
            <a:lvl2pPr indent="-228594" algn="l" defTabSz="914377" rtl="0" eaLnBrk="1" latinLnBrk="0" hangingPunct="1">
              <a:lnSpc>
                <a:spcPct val="120000"/>
              </a:lnSpc>
              <a:buFont typeface="Arial" panose="020B0604020202020204" pitchFamily="34" charset="0"/>
              <a:defRPr lang="en-US" sz="1467" kern="1200" dirty="0" smtClean="0">
                <a:solidFill>
                  <a:schemeClr val="tx1"/>
                </a:solidFill>
                <a:latin typeface="+mn-lt"/>
                <a:ea typeface="+mn-ea"/>
                <a:cs typeface="+mn-cs"/>
              </a:defRPr>
            </a:lvl2pPr>
            <a:lvl3pPr indent="-228594" algn="l" defTabSz="914377" rtl="0" eaLnBrk="1" latinLnBrk="0" hangingPunct="1">
              <a:lnSpc>
                <a:spcPct val="120000"/>
              </a:lnSpc>
              <a:buFont typeface="Arial" panose="020B0604020202020204" pitchFamily="34" charset="0"/>
              <a:defRPr lang="en-US" sz="1333" kern="1200" dirty="0" smtClean="0">
                <a:solidFill>
                  <a:schemeClr val="tx1"/>
                </a:solidFill>
                <a:latin typeface="+mn-lt"/>
                <a:ea typeface="+mn-ea"/>
                <a:cs typeface="+mn-cs"/>
              </a:defRPr>
            </a:lvl3pPr>
            <a:lvl4pPr indent="-228594" algn="l" defTabSz="914377" rtl="0" eaLnBrk="1" latinLnBrk="0" hangingPunct="1">
              <a:lnSpc>
                <a:spcPct val="120000"/>
              </a:lnSpc>
              <a:buFont typeface="Arial" panose="020B0604020202020204" pitchFamily="34" charset="0"/>
              <a:defRPr lang="en-US" sz="1200" kern="1200" dirty="0" smtClean="0">
                <a:solidFill>
                  <a:schemeClr val="tx1"/>
                </a:solidFill>
                <a:latin typeface="+mn-lt"/>
                <a:ea typeface="+mn-ea"/>
                <a:cs typeface="+mn-cs"/>
              </a:defRPr>
            </a:lvl4pPr>
            <a:lvl5pPr indent="-228594" algn="l" defTabSz="914377" rtl="0" eaLnBrk="1" latinLnBrk="0" hangingPunct="1">
              <a:lnSpc>
                <a:spcPct val="120000"/>
              </a:lnSpc>
              <a:buFont typeface="Arial" panose="020B0604020202020204" pitchFamily="34" charset="0"/>
              <a:defRPr lang="en-US" sz="1067" kern="1200" dirty="0">
                <a:solidFill>
                  <a:schemeClr val="tx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31E17CDA-1AF2-FE4D-A470-5F5803C69159}"/>
              </a:ext>
            </a:extLst>
          </p:cNvPr>
          <p:cNvSpPr>
            <a:spLocks noGrp="1"/>
          </p:cNvSpPr>
          <p:nvPr>
            <p:ph type="sldNum" sz="quarter" idx="10"/>
          </p:nvPr>
        </p:nvSpPr>
        <p:spPr>
          <a:xfrm>
            <a:off x="10972800" y="6297507"/>
            <a:ext cx="609600" cy="306493"/>
          </a:xfrm>
          <a:prstGeom prst="rect">
            <a:avLst/>
          </a:prstGeom>
        </p:spPr>
        <p:txBody>
          <a:bodyPr/>
          <a:lstStyle/>
          <a:p>
            <a:fld id="{E59C716A-E560-2D44-8739-72D446B232A5}" type="slidenum">
              <a:rPr lang="en-US" smtClean="0"/>
              <a:pPr/>
              <a:t>‹#›</a:t>
            </a:fld>
            <a:endParaRPr lang="en-US"/>
          </a:p>
        </p:txBody>
      </p:sp>
    </p:spTree>
    <p:extLst>
      <p:ext uri="{BB962C8B-B14F-4D97-AF65-F5344CB8AC3E}">
        <p14:creationId xmlns:p14="http://schemas.microsoft.com/office/powerpoint/2010/main" val="1724233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C83F4-60A8-C949-A8DD-B3528604AE69}"/>
              </a:ext>
            </a:extLst>
          </p:cNvPr>
          <p:cNvSpPr>
            <a:spLocks noGrp="1"/>
          </p:cNvSpPr>
          <p:nvPr>
            <p:ph type="title" hasCustomPrompt="1"/>
          </p:nvPr>
        </p:nvSpPr>
        <p:spPr>
          <a:xfrm>
            <a:off x="609600" y="548641"/>
            <a:ext cx="10972800" cy="546153"/>
          </a:xfrm>
        </p:spPr>
        <p:txBody>
          <a:bodyPr/>
          <a:lstStyle/>
          <a:p>
            <a:r>
              <a:rPr lang="en-US"/>
              <a:t>Slide title</a:t>
            </a:r>
          </a:p>
        </p:txBody>
      </p:sp>
      <p:sp>
        <p:nvSpPr>
          <p:cNvPr id="3" name="Content Placeholder 2">
            <a:extLst>
              <a:ext uri="{FF2B5EF4-FFF2-40B4-BE49-F238E27FC236}">
                <a16:creationId xmlns:a16="http://schemas.microsoft.com/office/drawing/2014/main" id="{BF75B61E-684B-C244-94A3-0231FA64E7CF}"/>
              </a:ext>
            </a:extLst>
          </p:cNvPr>
          <p:cNvSpPr>
            <a:spLocks noGrp="1"/>
          </p:cNvSpPr>
          <p:nvPr>
            <p:ph sz="half" idx="1"/>
          </p:nvPr>
        </p:nvSpPr>
        <p:spPr>
          <a:xfrm>
            <a:off x="609602" y="1642534"/>
            <a:ext cx="5303309" cy="42714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0D78C27-CA07-1947-9DFE-5ED58D75911C}"/>
              </a:ext>
            </a:extLst>
          </p:cNvPr>
          <p:cNvSpPr>
            <a:spLocks noGrp="1"/>
          </p:cNvSpPr>
          <p:nvPr>
            <p:ph sz="half" idx="2"/>
          </p:nvPr>
        </p:nvSpPr>
        <p:spPr>
          <a:xfrm>
            <a:off x="6279091" y="1642534"/>
            <a:ext cx="5303308" cy="42714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31E17CDA-1AF2-FE4D-A470-5F5803C69159}"/>
              </a:ext>
            </a:extLst>
          </p:cNvPr>
          <p:cNvSpPr>
            <a:spLocks noGrp="1"/>
          </p:cNvSpPr>
          <p:nvPr>
            <p:ph type="sldNum" sz="quarter" idx="10"/>
          </p:nvPr>
        </p:nvSpPr>
        <p:spPr>
          <a:xfrm>
            <a:off x="10972800" y="6297507"/>
            <a:ext cx="609600" cy="306493"/>
          </a:xfrm>
          <a:prstGeom prst="rect">
            <a:avLst/>
          </a:prstGeom>
        </p:spPr>
        <p:txBody>
          <a:bodyPr/>
          <a:lstStyle/>
          <a:p>
            <a:fld id="{E59C716A-E560-2D44-8739-72D446B232A5}" type="slidenum">
              <a:rPr lang="en-US" smtClean="0"/>
              <a:pPr/>
              <a:t>‹#›</a:t>
            </a:fld>
            <a:endParaRPr lang="en-US"/>
          </a:p>
        </p:txBody>
      </p:sp>
      <p:sp>
        <p:nvSpPr>
          <p:cNvPr id="7" name="Subtitle 2">
            <a:extLst>
              <a:ext uri="{FF2B5EF4-FFF2-40B4-BE49-F238E27FC236}">
                <a16:creationId xmlns:a16="http://schemas.microsoft.com/office/drawing/2014/main" id="{CC7B7800-7190-394B-947C-B8A7D81D5A47}"/>
              </a:ext>
            </a:extLst>
          </p:cNvPr>
          <p:cNvSpPr>
            <a:spLocks noGrp="1"/>
          </p:cNvSpPr>
          <p:nvPr>
            <p:ph type="subTitle" idx="11" hasCustomPrompt="1"/>
          </p:nvPr>
        </p:nvSpPr>
        <p:spPr>
          <a:xfrm>
            <a:off x="609600" y="1094795"/>
            <a:ext cx="10972800" cy="365707"/>
          </a:xfrm>
        </p:spPr>
        <p:txBody>
          <a:bodyPr tIns="18288">
            <a:noAutofit/>
          </a:bodyPr>
          <a:lstStyle>
            <a:lvl1pPr marL="0" indent="0" algn="l">
              <a:lnSpc>
                <a:spcPct val="100000"/>
              </a:lnSpc>
              <a:spcBef>
                <a:spcPts val="0"/>
              </a:spcBef>
              <a:buNone/>
              <a:defRPr sz="1333" cap="none" spc="0" baseline="0">
                <a:solidFill>
                  <a:schemeClr val="tx1"/>
                </a:solidFill>
                <a:latin typeface="+mn-lt"/>
              </a:defRPr>
            </a:lvl1pPr>
            <a:lvl2pPr marL="0" indent="0" algn="l">
              <a:lnSpc>
                <a:spcPct val="100000"/>
              </a:lnSpc>
              <a:spcBef>
                <a:spcPts val="0"/>
              </a:spcBef>
              <a:buNone/>
              <a:defRPr sz="1333" cap="all" spc="0" baseline="0">
                <a:solidFill>
                  <a:schemeClr val="tx1"/>
                </a:solidFill>
                <a:latin typeface="+mn-lt"/>
              </a:defRPr>
            </a:lvl2pPr>
            <a:lvl3pPr marL="0" indent="0" algn="l">
              <a:lnSpc>
                <a:spcPct val="100000"/>
              </a:lnSpc>
              <a:spcBef>
                <a:spcPts val="0"/>
              </a:spcBef>
              <a:buNone/>
              <a:defRPr sz="1333" cap="all" spc="0" baseline="0">
                <a:solidFill>
                  <a:schemeClr val="tx1"/>
                </a:solidFill>
                <a:latin typeface="+mn-lt"/>
              </a:defRPr>
            </a:lvl3pPr>
            <a:lvl4pPr marL="0" indent="0" algn="l">
              <a:lnSpc>
                <a:spcPct val="100000"/>
              </a:lnSpc>
              <a:spcBef>
                <a:spcPts val="0"/>
              </a:spcBef>
              <a:buNone/>
              <a:defRPr sz="1333" cap="all" spc="0" baseline="0">
                <a:solidFill>
                  <a:schemeClr val="tx1"/>
                </a:solidFill>
                <a:latin typeface="+mn-lt"/>
              </a:defRPr>
            </a:lvl4pPr>
            <a:lvl5pPr marL="0" indent="0" algn="l">
              <a:lnSpc>
                <a:spcPct val="100000"/>
              </a:lnSpc>
              <a:spcBef>
                <a:spcPts val="0"/>
              </a:spcBef>
              <a:buNone/>
              <a:defRPr sz="1333" cap="all" spc="0" baseline="0">
                <a:solidFill>
                  <a:schemeClr val="tx1"/>
                </a:solidFill>
                <a:latin typeface="+mn-lt"/>
              </a:defRPr>
            </a:lvl5pPr>
            <a:lvl6pPr marL="0" indent="0" algn="l">
              <a:lnSpc>
                <a:spcPct val="100000"/>
              </a:lnSpc>
              <a:spcBef>
                <a:spcPts val="0"/>
              </a:spcBef>
              <a:buNone/>
              <a:defRPr sz="1333" cap="all" spc="0" baseline="0">
                <a:solidFill>
                  <a:schemeClr val="tx1"/>
                </a:solidFill>
                <a:latin typeface="+mn-lt"/>
              </a:defRPr>
            </a:lvl6pPr>
            <a:lvl7pPr marL="0" indent="0" algn="l">
              <a:lnSpc>
                <a:spcPct val="100000"/>
              </a:lnSpc>
              <a:spcBef>
                <a:spcPts val="0"/>
              </a:spcBef>
              <a:buNone/>
              <a:defRPr sz="1333" cap="all" spc="0" baseline="0">
                <a:solidFill>
                  <a:schemeClr val="tx1"/>
                </a:solidFill>
                <a:latin typeface="+mn-lt"/>
              </a:defRPr>
            </a:lvl7pPr>
            <a:lvl8pPr marL="0" indent="0" algn="l">
              <a:lnSpc>
                <a:spcPct val="100000"/>
              </a:lnSpc>
              <a:spcBef>
                <a:spcPts val="0"/>
              </a:spcBef>
              <a:buNone/>
              <a:defRPr sz="1333" cap="all" spc="0" baseline="0">
                <a:solidFill>
                  <a:schemeClr val="tx1"/>
                </a:solidFill>
                <a:latin typeface="+mn-lt"/>
              </a:defRPr>
            </a:lvl8pPr>
            <a:lvl9pPr marL="0" indent="0" algn="l">
              <a:lnSpc>
                <a:spcPct val="100000"/>
              </a:lnSpc>
              <a:spcBef>
                <a:spcPts val="0"/>
              </a:spcBef>
              <a:buNone/>
              <a:defRPr sz="1333" cap="all" spc="0" baseline="0">
                <a:solidFill>
                  <a:schemeClr val="tx1"/>
                </a:solidFill>
                <a:latin typeface="+mn-lt"/>
              </a:defRPr>
            </a:lvl9pPr>
          </a:lstStyle>
          <a:p>
            <a:r>
              <a:rPr lang="en-US"/>
              <a:t>Slide subtitle</a:t>
            </a:r>
          </a:p>
        </p:txBody>
      </p:sp>
    </p:spTree>
    <p:extLst>
      <p:ext uri="{BB962C8B-B14F-4D97-AF65-F5344CB8AC3E}">
        <p14:creationId xmlns:p14="http://schemas.microsoft.com/office/powerpoint/2010/main" val="2774428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C83F4-60A8-C949-A8DD-B3528604AE69}"/>
              </a:ext>
            </a:extLst>
          </p:cNvPr>
          <p:cNvSpPr>
            <a:spLocks noGrp="1"/>
          </p:cNvSpPr>
          <p:nvPr>
            <p:ph type="title" hasCustomPrompt="1"/>
          </p:nvPr>
        </p:nvSpPr>
        <p:spPr>
          <a:xfrm>
            <a:off x="609600" y="548641"/>
            <a:ext cx="10972800" cy="911860"/>
          </a:xfrm>
        </p:spPr>
        <p:txBody>
          <a:bodyPr/>
          <a:lstStyle/>
          <a:p>
            <a:r>
              <a:rPr lang="en-US"/>
              <a:t>Slide title</a:t>
            </a:r>
          </a:p>
        </p:txBody>
      </p:sp>
      <p:sp>
        <p:nvSpPr>
          <p:cNvPr id="3" name="Content Placeholder 2">
            <a:extLst>
              <a:ext uri="{FF2B5EF4-FFF2-40B4-BE49-F238E27FC236}">
                <a16:creationId xmlns:a16="http://schemas.microsoft.com/office/drawing/2014/main" id="{BF75B61E-684B-C244-94A3-0231FA64E7CF}"/>
              </a:ext>
            </a:extLst>
          </p:cNvPr>
          <p:cNvSpPr>
            <a:spLocks noGrp="1"/>
          </p:cNvSpPr>
          <p:nvPr>
            <p:ph sz="half" idx="1"/>
          </p:nvPr>
        </p:nvSpPr>
        <p:spPr>
          <a:xfrm>
            <a:off x="609602" y="1642534"/>
            <a:ext cx="3415509" cy="4271433"/>
          </a:xfrm>
        </p:spPr>
        <p:txBody>
          <a:bodyPr/>
          <a:lstStyle>
            <a:lvl2pPr>
              <a:defRPr sz="1467"/>
            </a:lvl2pPr>
            <a:lvl3pPr>
              <a:defRPr sz="1333"/>
            </a:lvl3pPr>
            <a:lvl4pPr>
              <a:defRPr sz="1200"/>
            </a:lvl4pPr>
            <a:lvl5pPr>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0D78C27-CA07-1947-9DFE-5ED58D75911C}"/>
              </a:ext>
            </a:extLst>
          </p:cNvPr>
          <p:cNvSpPr>
            <a:spLocks noGrp="1"/>
          </p:cNvSpPr>
          <p:nvPr>
            <p:ph sz="half" idx="2"/>
          </p:nvPr>
        </p:nvSpPr>
        <p:spPr>
          <a:xfrm>
            <a:off x="4388246" y="1642534"/>
            <a:ext cx="3415509" cy="4271433"/>
          </a:xfrm>
        </p:spPr>
        <p:txBody>
          <a:bodyPr/>
          <a:lstStyle>
            <a:lvl2pPr>
              <a:defRPr sz="1467"/>
            </a:lvl2pPr>
            <a:lvl3pPr>
              <a:defRPr sz="1333"/>
            </a:lvl3pPr>
            <a:lvl4pPr>
              <a:defRPr sz="1200"/>
            </a:lvl4pPr>
            <a:lvl5pPr>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31E17CDA-1AF2-FE4D-A470-5F5803C69159}"/>
              </a:ext>
            </a:extLst>
          </p:cNvPr>
          <p:cNvSpPr>
            <a:spLocks noGrp="1"/>
          </p:cNvSpPr>
          <p:nvPr>
            <p:ph type="sldNum" sz="quarter" idx="10"/>
          </p:nvPr>
        </p:nvSpPr>
        <p:spPr>
          <a:xfrm>
            <a:off x="10972800" y="6297507"/>
            <a:ext cx="609600" cy="306493"/>
          </a:xfrm>
          <a:prstGeom prst="rect">
            <a:avLst/>
          </a:prstGeom>
        </p:spPr>
        <p:txBody>
          <a:bodyPr/>
          <a:lstStyle/>
          <a:p>
            <a:fld id="{E59C716A-E560-2D44-8739-72D446B232A5}" type="slidenum">
              <a:rPr lang="en-US" smtClean="0"/>
              <a:pPr/>
              <a:t>‹#›</a:t>
            </a:fld>
            <a:endParaRPr lang="en-US"/>
          </a:p>
        </p:txBody>
      </p:sp>
      <p:sp>
        <p:nvSpPr>
          <p:cNvPr id="11" name="Content Placeholder 10">
            <a:extLst>
              <a:ext uri="{FF2B5EF4-FFF2-40B4-BE49-F238E27FC236}">
                <a16:creationId xmlns:a16="http://schemas.microsoft.com/office/drawing/2014/main" id="{7E600721-B011-D04F-86A1-FAB48F2004CA}"/>
              </a:ext>
            </a:extLst>
          </p:cNvPr>
          <p:cNvSpPr>
            <a:spLocks noGrp="1"/>
          </p:cNvSpPr>
          <p:nvPr>
            <p:ph sz="quarter" idx="11"/>
          </p:nvPr>
        </p:nvSpPr>
        <p:spPr>
          <a:xfrm>
            <a:off x="8166889" y="1642534"/>
            <a:ext cx="3415511" cy="4271433"/>
          </a:xfrm>
        </p:spPr>
        <p:txBody>
          <a:bodyPr/>
          <a:lstStyle>
            <a:lvl2pPr>
              <a:defRPr sz="1467"/>
            </a:lvl2pPr>
            <a:lvl3pPr>
              <a:defRPr sz="1333"/>
            </a:lvl3pPr>
            <a:lvl4pPr>
              <a:defRPr sz="1200"/>
            </a:lvl4pPr>
            <a:lvl5pPr>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4111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Column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C83F4-60A8-C949-A8DD-B3528604AE69}"/>
              </a:ext>
            </a:extLst>
          </p:cNvPr>
          <p:cNvSpPr>
            <a:spLocks noGrp="1"/>
          </p:cNvSpPr>
          <p:nvPr>
            <p:ph type="title" hasCustomPrompt="1"/>
          </p:nvPr>
        </p:nvSpPr>
        <p:spPr>
          <a:xfrm>
            <a:off x="609600" y="548641"/>
            <a:ext cx="10972800" cy="546155"/>
          </a:xfrm>
        </p:spPr>
        <p:txBody>
          <a:bodyPr/>
          <a:lstStyle/>
          <a:p>
            <a:r>
              <a:rPr lang="en-US"/>
              <a:t>Slide title</a:t>
            </a:r>
          </a:p>
        </p:txBody>
      </p:sp>
      <p:sp>
        <p:nvSpPr>
          <p:cNvPr id="3" name="Content Placeholder 2">
            <a:extLst>
              <a:ext uri="{FF2B5EF4-FFF2-40B4-BE49-F238E27FC236}">
                <a16:creationId xmlns:a16="http://schemas.microsoft.com/office/drawing/2014/main" id="{BF75B61E-684B-C244-94A3-0231FA64E7CF}"/>
              </a:ext>
            </a:extLst>
          </p:cNvPr>
          <p:cNvSpPr>
            <a:spLocks noGrp="1"/>
          </p:cNvSpPr>
          <p:nvPr>
            <p:ph sz="half" idx="1"/>
          </p:nvPr>
        </p:nvSpPr>
        <p:spPr>
          <a:xfrm>
            <a:off x="609602" y="1642534"/>
            <a:ext cx="3415509" cy="42714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0D78C27-CA07-1947-9DFE-5ED58D75911C}"/>
              </a:ext>
            </a:extLst>
          </p:cNvPr>
          <p:cNvSpPr>
            <a:spLocks noGrp="1"/>
          </p:cNvSpPr>
          <p:nvPr>
            <p:ph sz="half" idx="2"/>
          </p:nvPr>
        </p:nvSpPr>
        <p:spPr>
          <a:xfrm>
            <a:off x="4388246" y="1642534"/>
            <a:ext cx="3415509" cy="42714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31E17CDA-1AF2-FE4D-A470-5F5803C69159}"/>
              </a:ext>
            </a:extLst>
          </p:cNvPr>
          <p:cNvSpPr>
            <a:spLocks noGrp="1"/>
          </p:cNvSpPr>
          <p:nvPr>
            <p:ph type="sldNum" sz="quarter" idx="10"/>
          </p:nvPr>
        </p:nvSpPr>
        <p:spPr>
          <a:xfrm>
            <a:off x="10972800" y="6297507"/>
            <a:ext cx="609600" cy="306493"/>
          </a:xfrm>
          <a:prstGeom prst="rect">
            <a:avLst/>
          </a:prstGeom>
        </p:spPr>
        <p:txBody>
          <a:bodyPr/>
          <a:lstStyle/>
          <a:p>
            <a:fld id="{E59C716A-E560-2D44-8739-72D446B232A5}" type="slidenum">
              <a:rPr lang="en-US" smtClean="0"/>
              <a:pPr/>
              <a:t>‹#›</a:t>
            </a:fld>
            <a:endParaRPr lang="en-US"/>
          </a:p>
        </p:txBody>
      </p:sp>
      <p:sp>
        <p:nvSpPr>
          <p:cNvPr id="11" name="Content Placeholder 10">
            <a:extLst>
              <a:ext uri="{FF2B5EF4-FFF2-40B4-BE49-F238E27FC236}">
                <a16:creationId xmlns:a16="http://schemas.microsoft.com/office/drawing/2014/main" id="{7E600721-B011-D04F-86A1-FAB48F2004CA}"/>
              </a:ext>
            </a:extLst>
          </p:cNvPr>
          <p:cNvSpPr>
            <a:spLocks noGrp="1"/>
          </p:cNvSpPr>
          <p:nvPr>
            <p:ph sz="quarter" idx="11"/>
          </p:nvPr>
        </p:nvSpPr>
        <p:spPr>
          <a:xfrm>
            <a:off x="8166889" y="1642534"/>
            <a:ext cx="3415511" cy="42714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a:extLst>
              <a:ext uri="{FF2B5EF4-FFF2-40B4-BE49-F238E27FC236}">
                <a16:creationId xmlns:a16="http://schemas.microsoft.com/office/drawing/2014/main" id="{0FDCE18C-4FAF-B84F-8867-AB8B41FDCAC1}"/>
              </a:ext>
            </a:extLst>
          </p:cNvPr>
          <p:cNvSpPr>
            <a:spLocks noGrp="1"/>
          </p:cNvSpPr>
          <p:nvPr>
            <p:ph type="subTitle" idx="12" hasCustomPrompt="1"/>
          </p:nvPr>
        </p:nvSpPr>
        <p:spPr>
          <a:xfrm>
            <a:off x="609600" y="1094795"/>
            <a:ext cx="10972800" cy="365707"/>
          </a:xfrm>
        </p:spPr>
        <p:txBody>
          <a:bodyPr tIns="18288">
            <a:noAutofit/>
          </a:bodyPr>
          <a:lstStyle>
            <a:lvl1pPr marL="0" indent="0" algn="l">
              <a:lnSpc>
                <a:spcPct val="100000"/>
              </a:lnSpc>
              <a:spcBef>
                <a:spcPts val="0"/>
              </a:spcBef>
              <a:buNone/>
              <a:defRPr sz="1333" cap="none" spc="0" baseline="0">
                <a:solidFill>
                  <a:schemeClr val="tx1"/>
                </a:solidFill>
                <a:latin typeface="+mn-lt"/>
              </a:defRPr>
            </a:lvl1pPr>
            <a:lvl2pPr marL="0" indent="0" algn="l">
              <a:lnSpc>
                <a:spcPct val="100000"/>
              </a:lnSpc>
              <a:spcBef>
                <a:spcPts val="0"/>
              </a:spcBef>
              <a:buNone/>
              <a:defRPr sz="1333" cap="all" spc="0" baseline="0">
                <a:solidFill>
                  <a:schemeClr val="tx1"/>
                </a:solidFill>
                <a:latin typeface="+mn-lt"/>
              </a:defRPr>
            </a:lvl2pPr>
            <a:lvl3pPr marL="0" indent="0" algn="l">
              <a:lnSpc>
                <a:spcPct val="100000"/>
              </a:lnSpc>
              <a:spcBef>
                <a:spcPts val="0"/>
              </a:spcBef>
              <a:buNone/>
              <a:defRPr sz="1333" cap="all" spc="0" baseline="0">
                <a:solidFill>
                  <a:schemeClr val="tx1"/>
                </a:solidFill>
                <a:latin typeface="+mn-lt"/>
              </a:defRPr>
            </a:lvl3pPr>
            <a:lvl4pPr marL="0" indent="0" algn="l">
              <a:lnSpc>
                <a:spcPct val="100000"/>
              </a:lnSpc>
              <a:spcBef>
                <a:spcPts val="0"/>
              </a:spcBef>
              <a:buNone/>
              <a:defRPr sz="1333" cap="all" spc="0" baseline="0">
                <a:solidFill>
                  <a:schemeClr val="tx1"/>
                </a:solidFill>
                <a:latin typeface="+mn-lt"/>
              </a:defRPr>
            </a:lvl4pPr>
            <a:lvl5pPr marL="0" indent="0" algn="l">
              <a:lnSpc>
                <a:spcPct val="100000"/>
              </a:lnSpc>
              <a:spcBef>
                <a:spcPts val="0"/>
              </a:spcBef>
              <a:buNone/>
              <a:defRPr sz="1333" cap="all" spc="0" baseline="0">
                <a:solidFill>
                  <a:schemeClr val="tx1"/>
                </a:solidFill>
                <a:latin typeface="+mn-lt"/>
              </a:defRPr>
            </a:lvl5pPr>
            <a:lvl6pPr marL="0" indent="0" algn="l">
              <a:lnSpc>
                <a:spcPct val="100000"/>
              </a:lnSpc>
              <a:spcBef>
                <a:spcPts val="0"/>
              </a:spcBef>
              <a:buNone/>
              <a:defRPr sz="1333" cap="all" spc="0" baseline="0">
                <a:solidFill>
                  <a:schemeClr val="tx1"/>
                </a:solidFill>
                <a:latin typeface="+mn-lt"/>
              </a:defRPr>
            </a:lvl6pPr>
            <a:lvl7pPr marL="0" indent="0" algn="l">
              <a:lnSpc>
                <a:spcPct val="100000"/>
              </a:lnSpc>
              <a:spcBef>
                <a:spcPts val="0"/>
              </a:spcBef>
              <a:buNone/>
              <a:defRPr sz="1333" cap="all" spc="0" baseline="0">
                <a:solidFill>
                  <a:schemeClr val="tx1"/>
                </a:solidFill>
                <a:latin typeface="+mn-lt"/>
              </a:defRPr>
            </a:lvl7pPr>
            <a:lvl8pPr marL="0" indent="0" algn="l">
              <a:lnSpc>
                <a:spcPct val="100000"/>
              </a:lnSpc>
              <a:spcBef>
                <a:spcPts val="0"/>
              </a:spcBef>
              <a:buNone/>
              <a:defRPr sz="1333" cap="all" spc="0" baseline="0">
                <a:solidFill>
                  <a:schemeClr val="tx1"/>
                </a:solidFill>
                <a:latin typeface="+mn-lt"/>
              </a:defRPr>
            </a:lvl8pPr>
            <a:lvl9pPr marL="0" indent="0" algn="l">
              <a:lnSpc>
                <a:spcPct val="100000"/>
              </a:lnSpc>
              <a:spcBef>
                <a:spcPts val="0"/>
              </a:spcBef>
              <a:buNone/>
              <a:defRPr sz="1333" cap="all" spc="0" baseline="0">
                <a:solidFill>
                  <a:schemeClr val="tx1"/>
                </a:solidFill>
                <a:latin typeface="+mn-lt"/>
              </a:defRPr>
            </a:lvl9pPr>
          </a:lstStyle>
          <a:p>
            <a:r>
              <a:rPr lang="en-US"/>
              <a:t>Slide subtitle</a:t>
            </a:r>
          </a:p>
        </p:txBody>
      </p:sp>
    </p:spTree>
    <p:extLst>
      <p:ext uri="{BB962C8B-B14F-4D97-AF65-F5344CB8AC3E}">
        <p14:creationId xmlns:p14="http://schemas.microsoft.com/office/powerpoint/2010/main" val="3992453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Sidebar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C83F4-60A8-C949-A8DD-B3528604AE69}"/>
              </a:ext>
            </a:extLst>
          </p:cNvPr>
          <p:cNvSpPr>
            <a:spLocks noGrp="1"/>
          </p:cNvSpPr>
          <p:nvPr>
            <p:ph type="title" hasCustomPrompt="1"/>
          </p:nvPr>
        </p:nvSpPr>
        <p:spPr/>
        <p:txBody>
          <a:bodyPr/>
          <a:lstStyle/>
          <a:p>
            <a:r>
              <a:rPr lang="en-US"/>
              <a:t>Slide title</a:t>
            </a:r>
          </a:p>
        </p:txBody>
      </p:sp>
      <p:sp>
        <p:nvSpPr>
          <p:cNvPr id="3" name="Content Placeholder 2">
            <a:extLst>
              <a:ext uri="{FF2B5EF4-FFF2-40B4-BE49-F238E27FC236}">
                <a16:creationId xmlns:a16="http://schemas.microsoft.com/office/drawing/2014/main" id="{BF75B61E-684B-C244-94A3-0231FA64E7CF}"/>
              </a:ext>
            </a:extLst>
          </p:cNvPr>
          <p:cNvSpPr>
            <a:spLocks noGrp="1"/>
          </p:cNvSpPr>
          <p:nvPr>
            <p:ph sz="half" idx="1"/>
          </p:nvPr>
        </p:nvSpPr>
        <p:spPr>
          <a:xfrm>
            <a:off x="609602" y="1642534"/>
            <a:ext cx="3414183" cy="42714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0D78C27-CA07-1947-9DFE-5ED58D75911C}"/>
              </a:ext>
            </a:extLst>
          </p:cNvPr>
          <p:cNvSpPr>
            <a:spLocks noGrp="1"/>
          </p:cNvSpPr>
          <p:nvPr>
            <p:ph sz="half" idx="2"/>
          </p:nvPr>
        </p:nvSpPr>
        <p:spPr>
          <a:xfrm>
            <a:off x="4389968" y="1642534"/>
            <a:ext cx="7192432" cy="42714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31E17CDA-1AF2-FE4D-A470-5F5803C69159}"/>
              </a:ext>
            </a:extLst>
          </p:cNvPr>
          <p:cNvSpPr>
            <a:spLocks noGrp="1"/>
          </p:cNvSpPr>
          <p:nvPr>
            <p:ph type="sldNum" sz="quarter" idx="10"/>
          </p:nvPr>
        </p:nvSpPr>
        <p:spPr>
          <a:xfrm>
            <a:off x="10972800" y="6297507"/>
            <a:ext cx="609600" cy="306493"/>
          </a:xfrm>
          <a:prstGeom prst="rect">
            <a:avLst/>
          </a:prstGeom>
        </p:spPr>
        <p:txBody>
          <a:bodyPr/>
          <a:lstStyle/>
          <a:p>
            <a:fld id="{E59C716A-E560-2D44-8739-72D446B232A5}" type="slidenum">
              <a:rPr lang="en-US" smtClean="0"/>
              <a:pPr/>
              <a:t>‹#›</a:t>
            </a:fld>
            <a:endParaRPr lang="en-US"/>
          </a:p>
        </p:txBody>
      </p:sp>
    </p:spTree>
    <p:extLst>
      <p:ext uri="{BB962C8B-B14F-4D97-AF65-F5344CB8AC3E}">
        <p14:creationId xmlns:p14="http://schemas.microsoft.com/office/powerpoint/2010/main" val="544825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debar Left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C83F4-60A8-C949-A8DD-B3528604AE69}"/>
              </a:ext>
            </a:extLst>
          </p:cNvPr>
          <p:cNvSpPr>
            <a:spLocks noGrp="1"/>
          </p:cNvSpPr>
          <p:nvPr>
            <p:ph type="title" hasCustomPrompt="1"/>
          </p:nvPr>
        </p:nvSpPr>
        <p:spPr>
          <a:xfrm>
            <a:off x="609600" y="548641"/>
            <a:ext cx="10972800" cy="546155"/>
          </a:xfrm>
        </p:spPr>
        <p:txBody>
          <a:bodyPr/>
          <a:lstStyle/>
          <a:p>
            <a:r>
              <a:rPr lang="en-US"/>
              <a:t>Slide title</a:t>
            </a:r>
          </a:p>
        </p:txBody>
      </p:sp>
      <p:sp>
        <p:nvSpPr>
          <p:cNvPr id="3" name="Content Placeholder 2">
            <a:extLst>
              <a:ext uri="{FF2B5EF4-FFF2-40B4-BE49-F238E27FC236}">
                <a16:creationId xmlns:a16="http://schemas.microsoft.com/office/drawing/2014/main" id="{BF75B61E-684B-C244-94A3-0231FA64E7CF}"/>
              </a:ext>
            </a:extLst>
          </p:cNvPr>
          <p:cNvSpPr>
            <a:spLocks noGrp="1"/>
          </p:cNvSpPr>
          <p:nvPr>
            <p:ph sz="half" idx="1"/>
          </p:nvPr>
        </p:nvSpPr>
        <p:spPr>
          <a:xfrm>
            <a:off x="609602" y="1642534"/>
            <a:ext cx="3414183" cy="42714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0D78C27-CA07-1947-9DFE-5ED58D75911C}"/>
              </a:ext>
            </a:extLst>
          </p:cNvPr>
          <p:cNvSpPr>
            <a:spLocks noGrp="1"/>
          </p:cNvSpPr>
          <p:nvPr>
            <p:ph sz="half" idx="2"/>
          </p:nvPr>
        </p:nvSpPr>
        <p:spPr>
          <a:xfrm>
            <a:off x="4389968" y="1642534"/>
            <a:ext cx="7192432" cy="42714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31E17CDA-1AF2-FE4D-A470-5F5803C69159}"/>
              </a:ext>
            </a:extLst>
          </p:cNvPr>
          <p:cNvSpPr>
            <a:spLocks noGrp="1"/>
          </p:cNvSpPr>
          <p:nvPr>
            <p:ph type="sldNum" sz="quarter" idx="10"/>
          </p:nvPr>
        </p:nvSpPr>
        <p:spPr>
          <a:xfrm>
            <a:off x="10972800" y="6297507"/>
            <a:ext cx="609600" cy="306493"/>
          </a:xfrm>
          <a:prstGeom prst="rect">
            <a:avLst/>
          </a:prstGeom>
        </p:spPr>
        <p:txBody>
          <a:bodyPr/>
          <a:lstStyle/>
          <a:p>
            <a:fld id="{E59C716A-E560-2D44-8739-72D446B232A5}" type="slidenum">
              <a:rPr lang="en-US" smtClean="0"/>
              <a:pPr/>
              <a:t>‹#›</a:t>
            </a:fld>
            <a:endParaRPr lang="en-US"/>
          </a:p>
        </p:txBody>
      </p:sp>
      <p:sp>
        <p:nvSpPr>
          <p:cNvPr id="6" name="Subtitle 2">
            <a:extLst>
              <a:ext uri="{FF2B5EF4-FFF2-40B4-BE49-F238E27FC236}">
                <a16:creationId xmlns:a16="http://schemas.microsoft.com/office/drawing/2014/main" id="{859B34E4-1128-6E4F-A42E-FF25BFC2E1DE}"/>
              </a:ext>
            </a:extLst>
          </p:cNvPr>
          <p:cNvSpPr>
            <a:spLocks noGrp="1"/>
          </p:cNvSpPr>
          <p:nvPr>
            <p:ph type="subTitle" idx="11" hasCustomPrompt="1"/>
          </p:nvPr>
        </p:nvSpPr>
        <p:spPr>
          <a:xfrm>
            <a:off x="609600" y="1094795"/>
            <a:ext cx="10972800" cy="365707"/>
          </a:xfrm>
        </p:spPr>
        <p:txBody>
          <a:bodyPr tIns="18288">
            <a:noAutofit/>
          </a:bodyPr>
          <a:lstStyle>
            <a:lvl1pPr marL="0" indent="0" algn="l">
              <a:lnSpc>
                <a:spcPct val="100000"/>
              </a:lnSpc>
              <a:spcBef>
                <a:spcPts val="0"/>
              </a:spcBef>
              <a:buNone/>
              <a:defRPr sz="1333" cap="none" spc="0" baseline="0">
                <a:solidFill>
                  <a:schemeClr val="tx1"/>
                </a:solidFill>
                <a:latin typeface="+mn-lt"/>
              </a:defRPr>
            </a:lvl1pPr>
            <a:lvl2pPr marL="0" indent="0" algn="l">
              <a:lnSpc>
                <a:spcPct val="100000"/>
              </a:lnSpc>
              <a:spcBef>
                <a:spcPts val="0"/>
              </a:spcBef>
              <a:buNone/>
              <a:defRPr sz="1333" cap="all" spc="0" baseline="0">
                <a:solidFill>
                  <a:schemeClr val="tx1"/>
                </a:solidFill>
                <a:latin typeface="+mn-lt"/>
              </a:defRPr>
            </a:lvl2pPr>
            <a:lvl3pPr marL="0" indent="0" algn="l">
              <a:lnSpc>
                <a:spcPct val="100000"/>
              </a:lnSpc>
              <a:spcBef>
                <a:spcPts val="0"/>
              </a:spcBef>
              <a:buNone/>
              <a:defRPr sz="1333" cap="all" spc="0" baseline="0">
                <a:solidFill>
                  <a:schemeClr val="tx1"/>
                </a:solidFill>
                <a:latin typeface="+mn-lt"/>
              </a:defRPr>
            </a:lvl3pPr>
            <a:lvl4pPr marL="0" indent="0" algn="l">
              <a:lnSpc>
                <a:spcPct val="100000"/>
              </a:lnSpc>
              <a:spcBef>
                <a:spcPts val="0"/>
              </a:spcBef>
              <a:buNone/>
              <a:defRPr sz="1333" cap="all" spc="0" baseline="0">
                <a:solidFill>
                  <a:schemeClr val="tx1"/>
                </a:solidFill>
                <a:latin typeface="+mn-lt"/>
              </a:defRPr>
            </a:lvl4pPr>
            <a:lvl5pPr marL="0" indent="0" algn="l">
              <a:lnSpc>
                <a:spcPct val="100000"/>
              </a:lnSpc>
              <a:spcBef>
                <a:spcPts val="0"/>
              </a:spcBef>
              <a:buNone/>
              <a:defRPr sz="1333" cap="all" spc="0" baseline="0">
                <a:solidFill>
                  <a:schemeClr val="tx1"/>
                </a:solidFill>
                <a:latin typeface="+mn-lt"/>
              </a:defRPr>
            </a:lvl5pPr>
            <a:lvl6pPr marL="0" indent="0" algn="l">
              <a:lnSpc>
                <a:spcPct val="100000"/>
              </a:lnSpc>
              <a:spcBef>
                <a:spcPts val="0"/>
              </a:spcBef>
              <a:buNone/>
              <a:defRPr sz="1333" cap="all" spc="0" baseline="0">
                <a:solidFill>
                  <a:schemeClr val="tx1"/>
                </a:solidFill>
                <a:latin typeface="+mn-lt"/>
              </a:defRPr>
            </a:lvl6pPr>
            <a:lvl7pPr marL="0" indent="0" algn="l">
              <a:lnSpc>
                <a:spcPct val="100000"/>
              </a:lnSpc>
              <a:spcBef>
                <a:spcPts val="0"/>
              </a:spcBef>
              <a:buNone/>
              <a:defRPr sz="1333" cap="all" spc="0" baseline="0">
                <a:solidFill>
                  <a:schemeClr val="tx1"/>
                </a:solidFill>
                <a:latin typeface="+mn-lt"/>
              </a:defRPr>
            </a:lvl7pPr>
            <a:lvl8pPr marL="0" indent="0" algn="l">
              <a:lnSpc>
                <a:spcPct val="100000"/>
              </a:lnSpc>
              <a:spcBef>
                <a:spcPts val="0"/>
              </a:spcBef>
              <a:buNone/>
              <a:defRPr sz="1333" cap="all" spc="0" baseline="0">
                <a:solidFill>
                  <a:schemeClr val="tx1"/>
                </a:solidFill>
                <a:latin typeface="+mn-lt"/>
              </a:defRPr>
            </a:lvl8pPr>
            <a:lvl9pPr marL="0" indent="0" algn="l">
              <a:lnSpc>
                <a:spcPct val="100000"/>
              </a:lnSpc>
              <a:spcBef>
                <a:spcPts val="0"/>
              </a:spcBef>
              <a:buNone/>
              <a:defRPr sz="1333" cap="all" spc="0" baseline="0">
                <a:solidFill>
                  <a:schemeClr val="tx1"/>
                </a:solidFill>
                <a:latin typeface="+mn-lt"/>
              </a:defRPr>
            </a:lvl9pPr>
          </a:lstStyle>
          <a:p>
            <a:r>
              <a:rPr lang="en-US"/>
              <a:t>Slide subtitle</a:t>
            </a:r>
          </a:p>
        </p:txBody>
      </p:sp>
    </p:spTree>
    <p:extLst>
      <p:ext uri="{BB962C8B-B14F-4D97-AF65-F5344CB8AC3E}">
        <p14:creationId xmlns:p14="http://schemas.microsoft.com/office/powerpoint/2010/main" val="2745932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Sidebar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C83F4-60A8-C949-A8DD-B3528604AE69}"/>
              </a:ext>
            </a:extLst>
          </p:cNvPr>
          <p:cNvSpPr>
            <a:spLocks noGrp="1"/>
          </p:cNvSpPr>
          <p:nvPr>
            <p:ph type="title" hasCustomPrompt="1"/>
          </p:nvPr>
        </p:nvSpPr>
        <p:spPr/>
        <p:txBody>
          <a:bodyPr/>
          <a:lstStyle/>
          <a:p>
            <a:r>
              <a:rPr lang="en-US"/>
              <a:t>Slide title</a:t>
            </a:r>
          </a:p>
        </p:txBody>
      </p:sp>
      <p:sp>
        <p:nvSpPr>
          <p:cNvPr id="3" name="Content Placeholder 2">
            <a:extLst>
              <a:ext uri="{FF2B5EF4-FFF2-40B4-BE49-F238E27FC236}">
                <a16:creationId xmlns:a16="http://schemas.microsoft.com/office/drawing/2014/main" id="{BF75B61E-684B-C244-94A3-0231FA64E7CF}"/>
              </a:ext>
            </a:extLst>
          </p:cNvPr>
          <p:cNvSpPr>
            <a:spLocks noGrp="1"/>
          </p:cNvSpPr>
          <p:nvPr>
            <p:ph sz="half" idx="1"/>
          </p:nvPr>
        </p:nvSpPr>
        <p:spPr>
          <a:xfrm>
            <a:off x="609601" y="1642534"/>
            <a:ext cx="7192432" cy="42714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0D78C27-CA07-1947-9DFE-5ED58D75911C}"/>
              </a:ext>
            </a:extLst>
          </p:cNvPr>
          <p:cNvSpPr>
            <a:spLocks noGrp="1"/>
          </p:cNvSpPr>
          <p:nvPr>
            <p:ph sz="half" idx="2"/>
          </p:nvPr>
        </p:nvSpPr>
        <p:spPr>
          <a:xfrm>
            <a:off x="8168217" y="1642534"/>
            <a:ext cx="3414183" cy="42714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31E17CDA-1AF2-FE4D-A470-5F5803C69159}"/>
              </a:ext>
            </a:extLst>
          </p:cNvPr>
          <p:cNvSpPr>
            <a:spLocks noGrp="1"/>
          </p:cNvSpPr>
          <p:nvPr>
            <p:ph type="sldNum" sz="quarter" idx="10"/>
          </p:nvPr>
        </p:nvSpPr>
        <p:spPr>
          <a:xfrm>
            <a:off x="10972800" y="6297507"/>
            <a:ext cx="609600" cy="306493"/>
          </a:xfrm>
          <a:prstGeom prst="rect">
            <a:avLst/>
          </a:prstGeom>
        </p:spPr>
        <p:txBody>
          <a:bodyPr/>
          <a:lstStyle/>
          <a:p>
            <a:fld id="{E59C716A-E560-2D44-8739-72D446B232A5}" type="slidenum">
              <a:rPr lang="en-US" smtClean="0"/>
              <a:pPr/>
              <a:t>‹#›</a:t>
            </a:fld>
            <a:endParaRPr lang="en-US"/>
          </a:p>
        </p:txBody>
      </p:sp>
    </p:spTree>
    <p:extLst>
      <p:ext uri="{BB962C8B-B14F-4D97-AF65-F5344CB8AC3E}">
        <p14:creationId xmlns:p14="http://schemas.microsoft.com/office/powerpoint/2010/main" val="4271962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idebar Right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C83F4-60A8-C949-A8DD-B3528604AE69}"/>
              </a:ext>
            </a:extLst>
          </p:cNvPr>
          <p:cNvSpPr>
            <a:spLocks noGrp="1"/>
          </p:cNvSpPr>
          <p:nvPr>
            <p:ph type="title" hasCustomPrompt="1"/>
          </p:nvPr>
        </p:nvSpPr>
        <p:spPr>
          <a:xfrm>
            <a:off x="609600" y="548641"/>
            <a:ext cx="10972800" cy="546155"/>
          </a:xfrm>
        </p:spPr>
        <p:txBody>
          <a:bodyPr/>
          <a:lstStyle/>
          <a:p>
            <a:r>
              <a:rPr lang="en-US"/>
              <a:t>Slide title</a:t>
            </a:r>
          </a:p>
        </p:txBody>
      </p:sp>
      <p:sp>
        <p:nvSpPr>
          <p:cNvPr id="3" name="Content Placeholder 2">
            <a:extLst>
              <a:ext uri="{FF2B5EF4-FFF2-40B4-BE49-F238E27FC236}">
                <a16:creationId xmlns:a16="http://schemas.microsoft.com/office/drawing/2014/main" id="{BF75B61E-684B-C244-94A3-0231FA64E7CF}"/>
              </a:ext>
            </a:extLst>
          </p:cNvPr>
          <p:cNvSpPr>
            <a:spLocks noGrp="1"/>
          </p:cNvSpPr>
          <p:nvPr>
            <p:ph sz="half" idx="1"/>
          </p:nvPr>
        </p:nvSpPr>
        <p:spPr>
          <a:xfrm>
            <a:off x="609601" y="1642534"/>
            <a:ext cx="7192432" cy="42714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0D78C27-CA07-1947-9DFE-5ED58D75911C}"/>
              </a:ext>
            </a:extLst>
          </p:cNvPr>
          <p:cNvSpPr>
            <a:spLocks noGrp="1"/>
          </p:cNvSpPr>
          <p:nvPr>
            <p:ph sz="half" idx="2"/>
          </p:nvPr>
        </p:nvSpPr>
        <p:spPr>
          <a:xfrm>
            <a:off x="8168217" y="1642534"/>
            <a:ext cx="3414183" cy="42714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31E17CDA-1AF2-FE4D-A470-5F5803C69159}"/>
              </a:ext>
            </a:extLst>
          </p:cNvPr>
          <p:cNvSpPr>
            <a:spLocks noGrp="1"/>
          </p:cNvSpPr>
          <p:nvPr>
            <p:ph type="sldNum" sz="quarter" idx="10"/>
          </p:nvPr>
        </p:nvSpPr>
        <p:spPr>
          <a:xfrm>
            <a:off x="10972800" y="6297507"/>
            <a:ext cx="609600" cy="306493"/>
          </a:xfrm>
          <a:prstGeom prst="rect">
            <a:avLst/>
          </a:prstGeom>
        </p:spPr>
        <p:txBody>
          <a:bodyPr/>
          <a:lstStyle/>
          <a:p>
            <a:fld id="{E59C716A-E560-2D44-8739-72D446B232A5}" type="slidenum">
              <a:rPr lang="en-US" smtClean="0"/>
              <a:pPr/>
              <a:t>‹#›</a:t>
            </a:fld>
            <a:endParaRPr lang="en-US"/>
          </a:p>
        </p:txBody>
      </p:sp>
      <p:sp>
        <p:nvSpPr>
          <p:cNvPr id="6" name="Subtitle 2">
            <a:extLst>
              <a:ext uri="{FF2B5EF4-FFF2-40B4-BE49-F238E27FC236}">
                <a16:creationId xmlns:a16="http://schemas.microsoft.com/office/drawing/2014/main" id="{84140389-BD01-794D-86E4-AD478067964B}"/>
              </a:ext>
            </a:extLst>
          </p:cNvPr>
          <p:cNvSpPr>
            <a:spLocks noGrp="1"/>
          </p:cNvSpPr>
          <p:nvPr>
            <p:ph type="subTitle" idx="11" hasCustomPrompt="1"/>
          </p:nvPr>
        </p:nvSpPr>
        <p:spPr>
          <a:xfrm>
            <a:off x="609600" y="1094795"/>
            <a:ext cx="10972800" cy="365707"/>
          </a:xfrm>
        </p:spPr>
        <p:txBody>
          <a:bodyPr tIns="18288">
            <a:noAutofit/>
          </a:bodyPr>
          <a:lstStyle>
            <a:lvl1pPr marL="0" indent="0" algn="l">
              <a:lnSpc>
                <a:spcPct val="100000"/>
              </a:lnSpc>
              <a:spcBef>
                <a:spcPts val="0"/>
              </a:spcBef>
              <a:buNone/>
              <a:defRPr sz="1333" cap="none" spc="0" baseline="0">
                <a:solidFill>
                  <a:schemeClr val="tx1"/>
                </a:solidFill>
                <a:latin typeface="+mn-lt"/>
              </a:defRPr>
            </a:lvl1pPr>
            <a:lvl2pPr marL="0" indent="0" algn="l">
              <a:lnSpc>
                <a:spcPct val="100000"/>
              </a:lnSpc>
              <a:spcBef>
                <a:spcPts val="0"/>
              </a:spcBef>
              <a:buNone/>
              <a:defRPr sz="1333" cap="all" spc="0" baseline="0">
                <a:solidFill>
                  <a:schemeClr val="tx1"/>
                </a:solidFill>
                <a:latin typeface="+mn-lt"/>
              </a:defRPr>
            </a:lvl2pPr>
            <a:lvl3pPr marL="0" indent="0" algn="l">
              <a:lnSpc>
                <a:spcPct val="100000"/>
              </a:lnSpc>
              <a:spcBef>
                <a:spcPts val="0"/>
              </a:spcBef>
              <a:buNone/>
              <a:defRPr sz="1333" cap="all" spc="0" baseline="0">
                <a:solidFill>
                  <a:schemeClr val="tx1"/>
                </a:solidFill>
                <a:latin typeface="+mn-lt"/>
              </a:defRPr>
            </a:lvl3pPr>
            <a:lvl4pPr marL="0" indent="0" algn="l">
              <a:lnSpc>
                <a:spcPct val="100000"/>
              </a:lnSpc>
              <a:spcBef>
                <a:spcPts val="0"/>
              </a:spcBef>
              <a:buNone/>
              <a:defRPr sz="1333" cap="all" spc="0" baseline="0">
                <a:solidFill>
                  <a:schemeClr val="tx1"/>
                </a:solidFill>
                <a:latin typeface="+mn-lt"/>
              </a:defRPr>
            </a:lvl4pPr>
            <a:lvl5pPr marL="0" indent="0" algn="l">
              <a:lnSpc>
                <a:spcPct val="100000"/>
              </a:lnSpc>
              <a:spcBef>
                <a:spcPts val="0"/>
              </a:spcBef>
              <a:buNone/>
              <a:defRPr sz="1333" cap="all" spc="0" baseline="0">
                <a:solidFill>
                  <a:schemeClr val="tx1"/>
                </a:solidFill>
                <a:latin typeface="+mn-lt"/>
              </a:defRPr>
            </a:lvl5pPr>
            <a:lvl6pPr marL="0" indent="0" algn="l">
              <a:lnSpc>
                <a:spcPct val="100000"/>
              </a:lnSpc>
              <a:spcBef>
                <a:spcPts val="0"/>
              </a:spcBef>
              <a:buNone/>
              <a:defRPr sz="1333" cap="all" spc="0" baseline="0">
                <a:solidFill>
                  <a:schemeClr val="tx1"/>
                </a:solidFill>
                <a:latin typeface="+mn-lt"/>
              </a:defRPr>
            </a:lvl6pPr>
            <a:lvl7pPr marL="0" indent="0" algn="l">
              <a:lnSpc>
                <a:spcPct val="100000"/>
              </a:lnSpc>
              <a:spcBef>
                <a:spcPts val="0"/>
              </a:spcBef>
              <a:buNone/>
              <a:defRPr sz="1333" cap="all" spc="0" baseline="0">
                <a:solidFill>
                  <a:schemeClr val="tx1"/>
                </a:solidFill>
                <a:latin typeface="+mn-lt"/>
              </a:defRPr>
            </a:lvl7pPr>
            <a:lvl8pPr marL="0" indent="0" algn="l">
              <a:lnSpc>
                <a:spcPct val="100000"/>
              </a:lnSpc>
              <a:spcBef>
                <a:spcPts val="0"/>
              </a:spcBef>
              <a:buNone/>
              <a:defRPr sz="1333" cap="all" spc="0" baseline="0">
                <a:solidFill>
                  <a:schemeClr val="tx1"/>
                </a:solidFill>
                <a:latin typeface="+mn-lt"/>
              </a:defRPr>
            </a:lvl8pPr>
            <a:lvl9pPr marL="0" indent="0" algn="l">
              <a:lnSpc>
                <a:spcPct val="100000"/>
              </a:lnSpc>
              <a:spcBef>
                <a:spcPts val="0"/>
              </a:spcBef>
              <a:buNone/>
              <a:defRPr sz="1333" cap="all" spc="0" baseline="0">
                <a:solidFill>
                  <a:schemeClr val="tx1"/>
                </a:solidFill>
                <a:latin typeface="+mn-lt"/>
              </a:defRPr>
            </a:lvl9pPr>
          </a:lstStyle>
          <a:p>
            <a:r>
              <a:rPr lang="en-US"/>
              <a:t>Slide subtitle</a:t>
            </a:r>
          </a:p>
        </p:txBody>
      </p:sp>
      <p:sp>
        <p:nvSpPr>
          <p:cNvPr id="5" name="TextBox 4">
            <a:extLst>
              <a:ext uri="{FF2B5EF4-FFF2-40B4-BE49-F238E27FC236}">
                <a16:creationId xmlns:a16="http://schemas.microsoft.com/office/drawing/2014/main" id="{DF28CE33-9527-7642-BB0E-6FDA3BC24ECF}"/>
              </a:ext>
            </a:extLst>
          </p:cNvPr>
          <p:cNvSpPr txBox="1"/>
          <p:nvPr userDrawn="1"/>
        </p:nvSpPr>
        <p:spPr>
          <a:xfrm>
            <a:off x="931524" y="1328791"/>
            <a:ext cx="0" cy="0"/>
          </a:xfrm>
          <a:prstGeom prst="rect">
            <a:avLst/>
          </a:prstGeom>
          <a:noFill/>
        </p:spPr>
        <p:txBody>
          <a:bodyPr wrap="none" lIns="0" tIns="0" rIns="0" bIns="0" rtlCol="0">
            <a:noAutofit/>
          </a:bodyPr>
          <a:lstStyle/>
          <a:p>
            <a:pPr marL="228594" indent="-228594">
              <a:lnSpc>
                <a:spcPct val="120000"/>
              </a:lnSpc>
              <a:spcBef>
                <a:spcPts val="1200"/>
              </a:spcBef>
              <a:buSzPct val="120000"/>
              <a:buFont typeface="Arial" pitchFamily="34" charset="0"/>
              <a:buChar char="▪"/>
            </a:pPr>
            <a:endParaRPr lang="en-US" sz="1600"/>
          </a:p>
        </p:txBody>
      </p:sp>
    </p:spTree>
    <p:extLst>
      <p:ext uri="{BB962C8B-B14F-4D97-AF65-F5344CB8AC3E}">
        <p14:creationId xmlns:p14="http://schemas.microsoft.com/office/powerpoint/2010/main" val="121604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C83F4-60A8-C949-A8DD-B3528604AE69}"/>
              </a:ext>
            </a:extLst>
          </p:cNvPr>
          <p:cNvSpPr>
            <a:spLocks noGrp="1"/>
          </p:cNvSpPr>
          <p:nvPr>
            <p:ph type="title" hasCustomPrompt="1"/>
          </p:nvPr>
        </p:nvSpPr>
        <p:spPr/>
        <p:txBody>
          <a:bodyPr/>
          <a:lstStyle/>
          <a:p>
            <a:r>
              <a:rPr lang="en-US"/>
              <a:t>Slide title</a:t>
            </a:r>
          </a:p>
        </p:txBody>
      </p:sp>
      <p:sp>
        <p:nvSpPr>
          <p:cNvPr id="8" name="Slide Number Placeholder 7">
            <a:extLst>
              <a:ext uri="{FF2B5EF4-FFF2-40B4-BE49-F238E27FC236}">
                <a16:creationId xmlns:a16="http://schemas.microsoft.com/office/drawing/2014/main" id="{31E17CDA-1AF2-FE4D-A470-5F5803C69159}"/>
              </a:ext>
            </a:extLst>
          </p:cNvPr>
          <p:cNvSpPr>
            <a:spLocks noGrp="1"/>
          </p:cNvSpPr>
          <p:nvPr>
            <p:ph type="sldNum" sz="quarter" idx="10"/>
          </p:nvPr>
        </p:nvSpPr>
        <p:spPr>
          <a:xfrm>
            <a:off x="10972800" y="6297507"/>
            <a:ext cx="609600" cy="306493"/>
          </a:xfrm>
          <a:prstGeom prst="rect">
            <a:avLst/>
          </a:prstGeom>
        </p:spPr>
        <p:txBody>
          <a:bodyPr/>
          <a:lstStyle/>
          <a:p>
            <a:fld id="{E59C716A-E560-2D44-8739-72D446B232A5}" type="slidenum">
              <a:rPr lang="en-US" smtClean="0"/>
              <a:pPr/>
              <a:t>‹#›</a:t>
            </a:fld>
            <a:endParaRPr lang="en-US"/>
          </a:p>
        </p:txBody>
      </p:sp>
      <p:sp>
        <p:nvSpPr>
          <p:cNvPr id="6" name="Picture Placeholder 5">
            <a:extLst>
              <a:ext uri="{FF2B5EF4-FFF2-40B4-BE49-F238E27FC236}">
                <a16:creationId xmlns:a16="http://schemas.microsoft.com/office/drawing/2014/main" id="{D36C46C2-A30D-174D-9851-D6AF87D93732}"/>
              </a:ext>
            </a:extLst>
          </p:cNvPr>
          <p:cNvSpPr>
            <a:spLocks noGrp="1"/>
          </p:cNvSpPr>
          <p:nvPr>
            <p:ph type="pic" sz="quarter" idx="11"/>
          </p:nvPr>
        </p:nvSpPr>
        <p:spPr>
          <a:xfrm>
            <a:off x="609600" y="1642534"/>
            <a:ext cx="10972800" cy="4271433"/>
          </a:xfrm>
          <a:solidFill>
            <a:srgbClr val="D9D9D6"/>
          </a:solidFill>
        </p:spPr>
        <p:txBody>
          <a:bodyPr anchor="ctr" anchorCtr="0">
            <a:normAutofit/>
          </a:bodyPr>
          <a:lstStyle>
            <a:lvl1pPr marL="0" indent="0" algn="ctr">
              <a:buNone/>
              <a:defRPr sz="1067" cap="all" baseline="0"/>
            </a:lvl1pPr>
          </a:lstStyle>
          <a:p>
            <a:r>
              <a:rPr lang="en-US"/>
              <a:t>Click icon to add picture</a:t>
            </a:r>
          </a:p>
        </p:txBody>
      </p:sp>
    </p:spTree>
    <p:extLst>
      <p:ext uri="{BB962C8B-B14F-4D97-AF65-F5344CB8AC3E}">
        <p14:creationId xmlns:p14="http://schemas.microsoft.com/office/powerpoint/2010/main" val="654633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imple Title Slide">
    <p:spTree>
      <p:nvGrpSpPr>
        <p:cNvPr id="1" name=""/>
        <p:cNvGrpSpPr/>
        <p:nvPr/>
      </p:nvGrpSpPr>
      <p:grpSpPr>
        <a:xfrm>
          <a:off x="0" y="0"/>
          <a:ext cx="0" cy="0"/>
          <a:chOff x="0" y="0"/>
          <a:chExt cx="0" cy="0"/>
        </a:xfrm>
      </p:grpSpPr>
      <p:pic>
        <p:nvPicPr>
          <p:cNvPr id="14" name="Picture 13" descr="Logo&#10;&#10;Description automatically generated">
            <a:extLst>
              <a:ext uri="{FF2B5EF4-FFF2-40B4-BE49-F238E27FC236}">
                <a16:creationId xmlns:a16="http://schemas.microsoft.com/office/drawing/2014/main" id="{7C63D153-D4C5-4132-8549-1354BE5336B8}"/>
              </a:ext>
            </a:extLst>
          </p:cNvPr>
          <p:cNvPicPr>
            <a:picLocks noChangeAspect="1"/>
          </p:cNvPicPr>
          <p:nvPr/>
        </p:nvPicPr>
        <p:blipFill rotWithShape="1">
          <a:blip r:embed="rId2"/>
          <a:srcRect l="-860" r="8141"/>
          <a:stretch/>
        </p:blipFill>
        <p:spPr>
          <a:xfrm>
            <a:off x="5043948" y="4743451"/>
            <a:ext cx="7148052" cy="1584664"/>
          </a:xfrm>
          <a:prstGeom prst="rect">
            <a:avLst/>
          </a:prstGeom>
        </p:spPr>
      </p:pic>
      <p:pic>
        <p:nvPicPr>
          <p:cNvPr id="15" name="Picture 14">
            <a:extLst>
              <a:ext uri="{FF2B5EF4-FFF2-40B4-BE49-F238E27FC236}">
                <a16:creationId xmlns:a16="http://schemas.microsoft.com/office/drawing/2014/main" id="{E62C6334-B2B1-403C-BD94-CDDBED35C61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5252" y="170944"/>
            <a:ext cx="3314842" cy="612827"/>
          </a:xfrm>
          <a:prstGeom prst="rect">
            <a:avLst/>
          </a:prstGeom>
        </p:spPr>
      </p:pic>
      <p:sp>
        <p:nvSpPr>
          <p:cNvPr id="16" name="Title 2">
            <a:extLst>
              <a:ext uri="{FF2B5EF4-FFF2-40B4-BE49-F238E27FC236}">
                <a16:creationId xmlns:a16="http://schemas.microsoft.com/office/drawing/2014/main" id="{AF5F6A11-BDC2-4875-99F9-62D9494F5923}"/>
              </a:ext>
            </a:extLst>
          </p:cNvPr>
          <p:cNvSpPr>
            <a:spLocks noGrp="1"/>
          </p:cNvSpPr>
          <p:nvPr>
            <p:ph type="title"/>
          </p:nvPr>
        </p:nvSpPr>
        <p:spPr>
          <a:xfrm>
            <a:off x="1" y="1516648"/>
            <a:ext cx="12191999" cy="1325563"/>
          </a:xfrm>
          <a:prstGeom prst="rect">
            <a:avLst/>
          </a:prstGeom>
        </p:spPr>
        <p:txBody>
          <a:bodyPr>
            <a:normAutofit/>
          </a:bodyPr>
          <a:lstStyle>
            <a:lvl1pPr algn="ctr">
              <a:defRPr lang="en-US" sz="5000" kern="1200" dirty="0">
                <a:solidFill>
                  <a:srgbClr val="002060"/>
                </a:solidFill>
                <a:latin typeface="+mj-lt"/>
                <a:ea typeface="+mn-ea"/>
                <a:cs typeface="+mn-cs"/>
              </a:defRPr>
            </a:lvl1pPr>
          </a:lstStyle>
          <a:p>
            <a:r>
              <a:rPr lang="en-US"/>
              <a:t>Click to edit Master title style</a:t>
            </a:r>
          </a:p>
        </p:txBody>
      </p:sp>
      <p:sp>
        <p:nvSpPr>
          <p:cNvPr id="17" name="Content Placeholder 2">
            <a:extLst>
              <a:ext uri="{FF2B5EF4-FFF2-40B4-BE49-F238E27FC236}">
                <a16:creationId xmlns:a16="http://schemas.microsoft.com/office/drawing/2014/main" id="{8405A1F9-AF77-4733-9EE0-4D4F791C6E9B}"/>
              </a:ext>
            </a:extLst>
          </p:cNvPr>
          <p:cNvSpPr>
            <a:spLocks noGrp="1"/>
          </p:cNvSpPr>
          <p:nvPr>
            <p:ph sz="half" idx="1" hasCustomPrompt="1"/>
          </p:nvPr>
        </p:nvSpPr>
        <p:spPr>
          <a:xfrm>
            <a:off x="1" y="3232903"/>
            <a:ext cx="12191999" cy="392194"/>
          </a:xfrm>
          <a:prstGeom prst="rect">
            <a:avLst/>
          </a:prstGeom>
        </p:spPr>
        <p:txBody>
          <a:bodyPr lIns="640080" rIns="640080"/>
          <a:lstStyle>
            <a:lvl1pPr algn="ctr">
              <a:buNone/>
              <a:defRPr sz="2000" b="0" i="0" spc="300">
                <a:solidFill>
                  <a:schemeClr val="tx2"/>
                </a:solidFill>
                <a:latin typeface="BentonSans Bold" panose="02000503000000020004" pitchFamily="2" charset="0"/>
              </a:defRPr>
            </a:lvl1pPr>
          </a:lstStyle>
          <a:p>
            <a:pPr lvl="0"/>
            <a:r>
              <a:rPr lang="en-US"/>
              <a:t>SUBHEADER OR DATE HERE</a:t>
            </a:r>
          </a:p>
        </p:txBody>
      </p:sp>
    </p:spTree>
    <p:extLst>
      <p:ext uri="{BB962C8B-B14F-4D97-AF65-F5344CB8AC3E}">
        <p14:creationId xmlns:p14="http://schemas.microsoft.com/office/powerpoint/2010/main" val="30563520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cture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C83F4-60A8-C949-A8DD-B3528604AE69}"/>
              </a:ext>
            </a:extLst>
          </p:cNvPr>
          <p:cNvSpPr>
            <a:spLocks noGrp="1"/>
          </p:cNvSpPr>
          <p:nvPr>
            <p:ph type="title" hasCustomPrompt="1"/>
          </p:nvPr>
        </p:nvSpPr>
        <p:spPr>
          <a:xfrm>
            <a:off x="609600" y="548641"/>
            <a:ext cx="10972800" cy="546155"/>
          </a:xfrm>
        </p:spPr>
        <p:txBody>
          <a:bodyPr/>
          <a:lstStyle/>
          <a:p>
            <a:r>
              <a:rPr lang="en-US"/>
              <a:t>Slide title</a:t>
            </a:r>
          </a:p>
        </p:txBody>
      </p:sp>
      <p:sp>
        <p:nvSpPr>
          <p:cNvPr id="8" name="Slide Number Placeholder 7">
            <a:extLst>
              <a:ext uri="{FF2B5EF4-FFF2-40B4-BE49-F238E27FC236}">
                <a16:creationId xmlns:a16="http://schemas.microsoft.com/office/drawing/2014/main" id="{31E17CDA-1AF2-FE4D-A470-5F5803C69159}"/>
              </a:ext>
            </a:extLst>
          </p:cNvPr>
          <p:cNvSpPr>
            <a:spLocks noGrp="1"/>
          </p:cNvSpPr>
          <p:nvPr>
            <p:ph type="sldNum" sz="quarter" idx="10"/>
          </p:nvPr>
        </p:nvSpPr>
        <p:spPr>
          <a:xfrm>
            <a:off x="10972800" y="6297507"/>
            <a:ext cx="609600" cy="306493"/>
          </a:xfrm>
          <a:prstGeom prst="rect">
            <a:avLst/>
          </a:prstGeom>
        </p:spPr>
        <p:txBody>
          <a:bodyPr/>
          <a:lstStyle/>
          <a:p>
            <a:fld id="{E59C716A-E560-2D44-8739-72D446B232A5}" type="slidenum">
              <a:rPr lang="en-US" smtClean="0"/>
              <a:pPr/>
              <a:t>‹#›</a:t>
            </a:fld>
            <a:endParaRPr lang="en-US"/>
          </a:p>
        </p:txBody>
      </p:sp>
      <p:sp>
        <p:nvSpPr>
          <p:cNvPr id="6" name="Picture Placeholder 5">
            <a:extLst>
              <a:ext uri="{FF2B5EF4-FFF2-40B4-BE49-F238E27FC236}">
                <a16:creationId xmlns:a16="http://schemas.microsoft.com/office/drawing/2014/main" id="{D36C46C2-A30D-174D-9851-D6AF87D93732}"/>
              </a:ext>
            </a:extLst>
          </p:cNvPr>
          <p:cNvSpPr>
            <a:spLocks noGrp="1"/>
          </p:cNvSpPr>
          <p:nvPr>
            <p:ph type="pic" sz="quarter" idx="11"/>
          </p:nvPr>
        </p:nvSpPr>
        <p:spPr>
          <a:xfrm>
            <a:off x="609600" y="1642534"/>
            <a:ext cx="10972800" cy="4271433"/>
          </a:xfrm>
          <a:solidFill>
            <a:srgbClr val="D9D9D6"/>
          </a:solidFill>
        </p:spPr>
        <p:txBody>
          <a:bodyPr anchor="ctr" anchorCtr="0">
            <a:normAutofit/>
          </a:bodyPr>
          <a:lstStyle>
            <a:lvl1pPr marL="0" indent="0" algn="ctr">
              <a:buNone/>
              <a:defRPr sz="1067" cap="all" baseline="0"/>
            </a:lvl1pPr>
          </a:lstStyle>
          <a:p>
            <a:r>
              <a:rPr lang="en-US"/>
              <a:t>Click icon to add picture</a:t>
            </a:r>
          </a:p>
        </p:txBody>
      </p:sp>
      <p:sp>
        <p:nvSpPr>
          <p:cNvPr id="5" name="Subtitle 2">
            <a:extLst>
              <a:ext uri="{FF2B5EF4-FFF2-40B4-BE49-F238E27FC236}">
                <a16:creationId xmlns:a16="http://schemas.microsoft.com/office/drawing/2014/main" id="{C71F1BC6-8CCD-F34C-9AB4-02A7481BCEEC}"/>
              </a:ext>
            </a:extLst>
          </p:cNvPr>
          <p:cNvSpPr>
            <a:spLocks noGrp="1"/>
          </p:cNvSpPr>
          <p:nvPr>
            <p:ph type="subTitle" idx="12" hasCustomPrompt="1"/>
          </p:nvPr>
        </p:nvSpPr>
        <p:spPr>
          <a:xfrm>
            <a:off x="609600" y="1094795"/>
            <a:ext cx="10972800" cy="365707"/>
          </a:xfrm>
        </p:spPr>
        <p:txBody>
          <a:bodyPr tIns="18288">
            <a:noAutofit/>
          </a:bodyPr>
          <a:lstStyle>
            <a:lvl1pPr marL="0" indent="0" algn="l">
              <a:lnSpc>
                <a:spcPct val="100000"/>
              </a:lnSpc>
              <a:spcBef>
                <a:spcPts val="0"/>
              </a:spcBef>
              <a:buNone/>
              <a:defRPr sz="1333" cap="none" spc="0" baseline="0">
                <a:solidFill>
                  <a:schemeClr val="tx1"/>
                </a:solidFill>
                <a:latin typeface="+mn-lt"/>
              </a:defRPr>
            </a:lvl1pPr>
            <a:lvl2pPr marL="0" indent="0" algn="l">
              <a:lnSpc>
                <a:spcPct val="100000"/>
              </a:lnSpc>
              <a:spcBef>
                <a:spcPts val="0"/>
              </a:spcBef>
              <a:buNone/>
              <a:defRPr sz="1333" cap="all" spc="0" baseline="0">
                <a:solidFill>
                  <a:schemeClr val="tx1"/>
                </a:solidFill>
                <a:latin typeface="+mn-lt"/>
              </a:defRPr>
            </a:lvl2pPr>
            <a:lvl3pPr marL="0" indent="0" algn="l">
              <a:lnSpc>
                <a:spcPct val="100000"/>
              </a:lnSpc>
              <a:spcBef>
                <a:spcPts val="0"/>
              </a:spcBef>
              <a:buNone/>
              <a:defRPr sz="1333" cap="all" spc="0" baseline="0">
                <a:solidFill>
                  <a:schemeClr val="tx1"/>
                </a:solidFill>
                <a:latin typeface="+mn-lt"/>
              </a:defRPr>
            </a:lvl3pPr>
            <a:lvl4pPr marL="0" indent="0" algn="l">
              <a:lnSpc>
                <a:spcPct val="100000"/>
              </a:lnSpc>
              <a:spcBef>
                <a:spcPts val="0"/>
              </a:spcBef>
              <a:buNone/>
              <a:defRPr sz="1333" cap="all" spc="0" baseline="0">
                <a:solidFill>
                  <a:schemeClr val="tx1"/>
                </a:solidFill>
                <a:latin typeface="+mn-lt"/>
              </a:defRPr>
            </a:lvl4pPr>
            <a:lvl5pPr marL="0" indent="0" algn="l">
              <a:lnSpc>
                <a:spcPct val="100000"/>
              </a:lnSpc>
              <a:spcBef>
                <a:spcPts val="0"/>
              </a:spcBef>
              <a:buNone/>
              <a:defRPr sz="1333" cap="all" spc="0" baseline="0">
                <a:solidFill>
                  <a:schemeClr val="tx1"/>
                </a:solidFill>
                <a:latin typeface="+mn-lt"/>
              </a:defRPr>
            </a:lvl5pPr>
            <a:lvl6pPr marL="0" indent="0" algn="l">
              <a:lnSpc>
                <a:spcPct val="100000"/>
              </a:lnSpc>
              <a:spcBef>
                <a:spcPts val="0"/>
              </a:spcBef>
              <a:buNone/>
              <a:defRPr sz="1333" cap="all" spc="0" baseline="0">
                <a:solidFill>
                  <a:schemeClr val="tx1"/>
                </a:solidFill>
                <a:latin typeface="+mn-lt"/>
              </a:defRPr>
            </a:lvl6pPr>
            <a:lvl7pPr marL="0" indent="0" algn="l">
              <a:lnSpc>
                <a:spcPct val="100000"/>
              </a:lnSpc>
              <a:spcBef>
                <a:spcPts val="0"/>
              </a:spcBef>
              <a:buNone/>
              <a:defRPr sz="1333" cap="all" spc="0" baseline="0">
                <a:solidFill>
                  <a:schemeClr val="tx1"/>
                </a:solidFill>
                <a:latin typeface="+mn-lt"/>
              </a:defRPr>
            </a:lvl7pPr>
            <a:lvl8pPr marL="0" indent="0" algn="l">
              <a:lnSpc>
                <a:spcPct val="100000"/>
              </a:lnSpc>
              <a:spcBef>
                <a:spcPts val="0"/>
              </a:spcBef>
              <a:buNone/>
              <a:defRPr sz="1333" cap="all" spc="0" baseline="0">
                <a:solidFill>
                  <a:schemeClr val="tx1"/>
                </a:solidFill>
                <a:latin typeface="+mn-lt"/>
              </a:defRPr>
            </a:lvl8pPr>
            <a:lvl9pPr marL="0" indent="0" algn="l">
              <a:lnSpc>
                <a:spcPct val="100000"/>
              </a:lnSpc>
              <a:spcBef>
                <a:spcPts val="0"/>
              </a:spcBef>
              <a:buNone/>
              <a:defRPr sz="1333" cap="all" spc="0" baseline="0">
                <a:solidFill>
                  <a:schemeClr val="tx1"/>
                </a:solidFill>
                <a:latin typeface="+mn-lt"/>
              </a:defRPr>
            </a:lvl9pPr>
          </a:lstStyle>
          <a:p>
            <a:r>
              <a:rPr lang="en-US"/>
              <a:t>Slide subtitle</a:t>
            </a:r>
          </a:p>
        </p:txBody>
      </p:sp>
    </p:spTree>
    <p:extLst>
      <p:ext uri="{BB962C8B-B14F-4D97-AF65-F5344CB8AC3E}">
        <p14:creationId xmlns:p14="http://schemas.microsoft.com/office/powerpoint/2010/main" val="761638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01 White">
    <p:spTree>
      <p:nvGrpSpPr>
        <p:cNvPr id="1" name=""/>
        <p:cNvGrpSpPr/>
        <p:nvPr/>
      </p:nvGrpSpPr>
      <p:grpSpPr>
        <a:xfrm>
          <a:off x="0" y="0"/>
          <a:ext cx="0" cy="0"/>
          <a:chOff x="0" y="0"/>
          <a:chExt cx="0" cy="0"/>
        </a:xfrm>
      </p:grpSpPr>
      <p:sp>
        <p:nvSpPr>
          <p:cNvPr id="4" name="Freeform 5">
            <a:extLst>
              <a:ext uri="{FF2B5EF4-FFF2-40B4-BE49-F238E27FC236}">
                <a16:creationId xmlns:a16="http://schemas.microsoft.com/office/drawing/2014/main" id="{E01E55ED-B9BC-124E-93D5-EC36F4D89B7C}"/>
              </a:ext>
            </a:extLst>
          </p:cNvPr>
          <p:cNvSpPr>
            <a:spLocks noEditPoints="1"/>
          </p:cNvSpPr>
          <p:nvPr userDrawn="1"/>
        </p:nvSpPr>
        <p:spPr bwMode="hidden">
          <a:xfrm>
            <a:off x="1771650" y="3711825"/>
            <a:ext cx="10420351" cy="2563284"/>
          </a:xfrm>
          <a:custGeom>
            <a:avLst/>
            <a:gdLst>
              <a:gd name="T0" fmla="*/ 8350 w 16415"/>
              <a:gd name="T1" fmla="*/ 1167 h 4031"/>
              <a:gd name="T2" fmla="*/ 8005 w 16415"/>
              <a:gd name="T3" fmla="*/ 2128 h 4031"/>
              <a:gd name="T4" fmla="*/ 8883 w 16415"/>
              <a:gd name="T5" fmla="*/ 1905 h 4031"/>
              <a:gd name="T6" fmla="*/ 9866 w 16415"/>
              <a:gd name="T7" fmla="*/ 1832 h 4031"/>
              <a:gd name="T8" fmla="*/ 9058 w 16415"/>
              <a:gd name="T9" fmla="*/ 1879 h 4031"/>
              <a:gd name="T10" fmla="*/ 9862 w 16415"/>
              <a:gd name="T11" fmla="*/ 874 h 4031"/>
              <a:gd name="T12" fmla="*/ 7008 w 16415"/>
              <a:gd name="T13" fmla="*/ 1972 h 4031"/>
              <a:gd name="T14" fmla="*/ 7710 w 16415"/>
              <a:gd name="T15" fmla="*/ 1980 h 4031"/>
              <a:gd name="T16" fmla="*/ 7709 w 16415"/>
              <a:gd name="T17" fmla="*/ 1539 h 4031"/>
              <a:gd name="T18" fmla="*/ 11031 w 16415"/>
              <a:gd name="T19" fmla="*/ 1143 h 4031"/>
              <a:gd name="T20" fmla="*/ 11528 w 16415"/>
              <a:gd name="T21" fmla="*/ 1674 h 4031"/>
              <a:gd name="T22" fmla="*/ 11634 w 16415"/>
              <a:gd name="T23" fmla="*/ 2145 h 4031"/>
              <a:gd name="T24" fmla="*/ 11610 w 16415"/>
              <a:gd name="T25" fmla="*/ 1286 h 4031"/>
              <a:gd name="T26" fmla="*/ 3823 w 16415"/>
              <a:gd name="T27" fmla="*/ 2319 h 4031"/>
              <a:gd name="T28" fmla="*/ 2928 w 16415"/>
              <a:gd name="T29" fmla="*/ 3077 h 4031"/>
              <a:gd name="T30" fmla="*/ 3382 w 16415"/>
              <a:gd name="T31" fmla="*/ 2972 h 4031"/>
              <a:gd name="T32" fmla="*/ 3985 w 16415"/>
              <a:gd name="T33" fmla="*/ 3154 h 4031"/>
              <a:gd name="T34" fmla="*/ 11751 w 16415"/>
              <a:gd name="T35" fmla="*/ 2186 h 4031"/>
              <a:gd name="T36" fmla="*/ 12295 w 16415"/>
              <a:gd name="T37" fmla="*/ 1743 h 4031"/>
              <a:gd name="T38" fmla="*/ 12772 w 16415"/>
              <a:gd name="T39" fmla="*/ 2579 h 4031"/>
              <a:gd name="T40" fmla="*/ 11751 w 16415"/>
              <a:gd name="T41" fmla="*/ 2186 h 4031"/>
              <a:gd name="T42" fmla="*/ 6622 w 16415"/>
              <a:gd name="T43" fmla="*/ 1639 h 4031"/>
              <a:gd name="T44" fmla="*/ 5804 w 16415"/>
              <a:gd name="T45" fmla="*/ 2360 h 4031"/>
              <a:gd name="T46" fmla="*/ 6031 w 16415"/>
              <a:gd name="T47" fmla="*/ 2165 h 4031"/>
              <a:gd name="T48" fmla="*/ 5815 w 16415"/>
              <a:gd name="T49" fmla="*/ 1939 h 4031"/>
              <a:gd name="T50" fmla="*/ 5536 w 16415"/>
              <a:gd name="T51" fmla="*/ 2582 h 4031"/>
              <a:gd name="T52" fmla="*/ 5970 w 16415"/>
              <a:gd name="T53" fmla="*/ 2455 h 4031"/>
              <a:gd name="T54" fmla="*/ 4451 w 16415"/>
              <a:gd name="T55" fmla="*/ 2582 h 4031"/>
              <a:gd name="T56" fmla="*/ 4451 w 16415"/>
              <a:gd name="T57" fmla="*/ 2976 h 4031"/>
              <a:gd name="T58" fmla="*/ 4285 w 16415"/>
              <a:gd name="T59" fmla="*/ 2187 h 4031"/>
              <a:gd name="T60" fmla="*/ 2248 w 16415"/>
              <a:gd name="T61" fmla="*/ 2518 h 4031"/>
              <a:gd name="T62" fmla="*/ 2248 w 16415"/>
              <a:gd name="T63" fmla="*/ 2518 h 4031"/>
              <a:gd name="T64" fmla="*/ 1817 w 16415"/>
              <a:gd name="T65" fmla="*/ 2513 h 4031"/>
              <a:gd name="T66" fmla="*/ 2201 w 16415"/>
              <a:gd name="T67" fmla="*/ 1906 h 4031"/>
              <a:gd name="T68" fmla="*/ 15998 w 16415"/>
              <a:gd name="T69" fmla="*/ 2936 h 4031"/>
              <a:gd name="T70" fmla="*/ 15998 w 16415"/>
              <a:gd name="T71" fmla="*/ 2936 h 4031"/>
              <a:gd name="T72" fmla="*/ 16415 w 16415"/>
              <a:gd name="T73" fmla="*/ 1837 h 4031"/>
              <a:gd name="T74" fmla="*/ 1484 w 16415"/>
              <a:gd name="T75" fmla="*/ 1228 h 4031"/>
              <a:gd name="T76" fmla="*/ 15705 w 16415"/>
              <a:gd name="T77" fmla="*/ 3462 h 4031"/>
              <a:gd name="T78" fmla="*/ 9796 w 16415"/>
              <a:gd name="T79" fmla="*/ 2299 h 4031"/>
              <a:gd name="T80" fmla="*/ 3887 w 16415"/>
              <a:gd name="T81" fmla="*/ 1730 h 4031"/>
              <a:gd name="T82" fmla="*/ 13550 w 16415"/>
              <a:gd name="T83" fmla="*/ 2146 h 4031"/>
              <a:gd name="T84" fmla="*/ 13270 w 16415"/>
              <a:gd name="T85" fmla="*/ 1920 h 4031"/>
              <a:gd name="T86" fmla="*/ 12918 w 16415"/>
              <a:gd name="T87" fmla="*/ 2639 h 4031"/>
              <a:gd name="T88" fmla="*/ 13714 w 16415"/>
              <a:gd name="T89" fmla="*/ 2174 h 4031"/>
              <a:gd name="T90" fmla="*/ 16415 w 16415"/>
              <a:gd name="T91" fmla="*/ 2110 h 4031"/>
              <a:gd name="T92" fmla="*/ 16415 w 16415"/>
              <a:gd name="T93" fmla="*/ 2691 h 4031"/>
              <a:gd name="T94" fmla="*/ 16415 w 16415"/>
              <a:gd name="T95" fmla="*/ 3995 h 4031"/>
              <a:gd name="T96" fmla="*/ 3887 w 16415"/>
              <a:gd name="T97" fmla="*/ 4031 h 4031"/>
              <a:gd name="T98" fmla="*/ 9796 w 16415"/>
              <a:gd name="T99" fmla="*/ 0 h 4031"/>
              <a:gd name="T100" fmla="*/ 15705 w 16415"/>
              <a:gd name="T101" fmla="*/ 1484 h 4031"/>
              <a:gd name="T102" fmla="*/ 197 w 16415"/>
              <a:gd name="T103" fmla="*/ 2751 h 4031"/>
              <a:gd name="T104" fmla="*/ 16415 w 16415"/>
              <a:gd name="T105" fmla="*/ 3833 h 4031"/>
              <a:gd name="T106" fmla="*/ 15166 w 16415"/>
              <a:gd name="T107" fmla="*/ 2576 h 4031"/>
              <a:gd name="T108" fmla="*/ 15166 w 16415"/>
              <a:gd name="T109" fmla="*/ 2977 h 4031"/>
              <a:gd name="T110" fmla="*/ 15000 w 16415"/>
              <a:gd name="T111" fmla="*/ 2165 h 4031"/>
              <a:gd name="T112" fmla="*/ 14324 w 16415"/>
              <a:gd name="T113" fmla="*/ 2477 h 4031"/>
              <a:gd name="T114" fmla="*/ 14315 w 16415"/>
              <a:gd name="T115" fmla="*/ 2230 h 4031"/>
              <a:gd name="T116" fmla="*/ 14727 w 16415"/>
              <a:gd name="T117" fmla="*/ 2415 h 4031"/>
              <a:gd name="T118" fmla="*/ 14065 w 16415"/>
              <a:gd name="T119" fmla="*/ 2991 h 4031"/>
              <a:gd name="T120" fmla="*/ 14760 w 16415"/>
              <a:gd name="T121" fmla="*/ 3104 h 4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415" h="4031">
                <a:moveTo>
                  <a:pt x="8553" y="1601"/>
                </a:moveTo>
                <a:lnTo>
                  <a:pt x="8553" y="1601"/>
                </a:lnTo>
                <a:cubicBezTo>
                  <a:pt x="8420" y="1626"/>
                  <a:pt x="8286" y="1662"/>
                  <a:pt x="8154" y="1710"/>
                </a:cubicBezTo>
                <a:cubicBezTo>
                  <a:pt x="8206" y="1564"/>
                  <a:pt x="8337" y="1201"/>
                  <a:pt x="8350" y="1167"/>
                </a:cubicBezTo>
                <a:cubicBezTo>
                  <a:pt x="8350" y="1167"/>
                  <a:pt x="8497" y="1482"/>
                  <a:pt x="8553" y="1601"/>
                </a:cubicBezTo>
                <a:close/>
                <a:moveTo>
                  <a:pt x="7806" y="2198"/>
                </a:moveTo>
                <a:lnTo>
                  <a:pt x="7806" y="2198"/>
                </a:lnTo>
                <a:cubicBezTo>
                  <a:pt x="7872" y="2174"/>
                  <a:pt x="7938" y="2151"/>
                  <a:pt x="8005" y="2128"/>
                </a:cubicBezTo>
                <a:cubicBezTo>
                  <a:pt x="8033" y="2050"/>
                  <a:pt x="8062" y="1969"/>
                  <a:pt x="8091" y="1889"/>
                </a:cubicBezTo>
                <a:cubicBezTo>
                  <a:pt x="8264" y="1820"/>
                  <a:pt x="8441" y="1769"/>
                  <a:pt x="8618" y="1739"/>
                </a:cubicBezTo>
                <a:cubicBezTo>
                  <a:pt x="8636" y="1778"/>
                  <a:pt x="8693" y="1899"/>
                  <a:pt x="8711" y="1938"/>
                </a:cubicBezTo>
                <a:cubicBezTo>
                  <a:pt x="8732" y="1932"/>
                  <a:pt x="8862" y="1909"/>
                  <a:pt x="8883" y="1905"/>
                </a:cubicBezTo>
                <a:cubicBezTo>
                  <a:pt x="8740" y="1608"/>
                  <a:pt x="8591" y="1306"/>
                  <a:pt x="8439" y="1007"/>
                </a:cubicBezTo>
                <a:cubicBezTo>
                  <a:pt x="8369" y="1022"/>
                  <a:pt x="8300" y="1038"/>
                  <a:pt x="8234" y="1055"/>
                </a:cubicBezTo>
                <a:cubicBezTo>
                  <a:pt x="8086" y="1440"/>
                  <a:pt x="7942" y="1825"/>
                  <a:pt x="7806" y="2198"/>
                </a:cubicBezTo>
                <a:close/>
                <a:moveTo>
                  <a:pt x="9866" y="1832"/>
                </a:moveTo>
                <a:lnTo>
                  <a:pt x="9866" y="1832"/>
                </a:lnTo>
                <a:cubicBezTo>
                  <a:pt x="9649" y="1579"/>
                  <a:pt x="9429" y="1337"/>
                  <a:pt x="9213" y="1102"/>
                </a:cubicBezTo>
                <a:cubicBezTo>
                  <a:pt x="9213" y="1355"/>
                  <a:pt x="9214" y="1608"/>
                  <a:pt x="9214" y="1860"/>
                </a:cubicBezTo>
                <a:cubicBezTo>
                  <a:pt x="9161" y="1866"/>
                  <a:pt x="9110" y="1872"/>
                  <a:pt x="9058" y="1879"/>
                </a:cubicBezTo>
                <a:lnTo>
                  <a:pt x="9058" y="910"/>
                </a:lnTo>
                <a:cubicBezTo>
                  <a:pt x="9119" y="904"/>
                  <a:pt x="9182" y="899"/>
                  <a:pt x="9245" y="894"/>
                </a:cubicBezTo>
                <a:cubicBezTo>
                  <a:pt x="9450" y="1114"/>
                  <a:pt x="9659" y="1340"/>
                  <a:pt x="9864" y="1576"/>
                </a:cubicBezTo>
                <a:cubicBezTo>
                  <a:pt x="9863" y="1342"/>
                  <a:pt x="9862" y="1108"/>
                  <a:pt x="9862" y="874"/>
                </a:cubicBezTo>
                <a:cubicBezTo>
                  <a:pt x="9914" y="875"/>
                  <a:pt x="9965" y="875"/>
                  <a:pt x="10016" y="877"/>
                </a:cubicBezTo>
                <a:lnTo>
                  <a:pt x="10016" y="1835"/>
                </a:lnTo>
                <a:cubicBezTo>
                  <a:pt x="9966" y="1833"/>
                  <a:pt x="9916" y="1832"/>
                  <a:pt x="9866" y="1832"/>
                </a:cubicBezTo>
                <a:close/>
                <a:moveTo>
                  <a:pt x="7008" y="1972"/>
                </a:moveTo>
                <a:lnTo>
                  <a:pt x="7008" y="1972"/>
                </a:lnTo>
                <a:cubicBezTo>
                  <a:pt x="7008" y="2193"/>
                  <a:pt x="7087" y="2335"/>
                  <a:pt x="7297" y="2266"/>
                </a:cubicBezTo>
                <a:cubicBezTo>
                  <a:pt x="7418" y="2227"/>
                  <a:pt x="7504" y="2140"/>
                  <a:pt x="7541" y="2023"/>
                </a:cubicBezTo>
                <a:lnTo>
                  <a:pt x="7710" y="1980"/>
                </a:lnTo>
                <a:cubicBezTo>
                  <a:pt x="7664" y="2186"/>
                  <a:pt x="7515" y="2350"/>
                  <a:pt x="7304" y="2418"/>
                </a:cubicBezTo>
                <a:cubicBezTo>
                  <a:pt x="7014" y="2512"/>
                  <a:pt x="6845" y="2339"/>
                  <a:pt x="6845" y="2023"/>
                </a:cubicBezTo>
                <a:cubicBezTo>
                  <a:pt x="6845" y="1700"/>
                  <a:pt x="7024" y="1433"/>
                  <a:pt x="7302" y="1343"/>
                </a:cubicBezTo>
                <a:cubicBezTo>
                  <a:pt x="7500" y="1279"/>
                  <a:pt x="7672" y="1333"/>
                  <a:pt x="7709" y="1539"/>
                </a:cubicBezTo>
                <a:lnTo>
                  <a:pt x="7553" y="1587"/>
                </a:lnTo>
                <a:cubicBezTo>
                  <a:pt x="7521" y="1476"/>
                  <a:pt x="7417" y="1467"/>
                  <a:pt x="7308" y="1503"/>
                </a:cubicBezTo>
                <a:cubicBezTo>
                  <a:pt x="7131" y="1560"/>
                  <a:pt x="7008" y="1796"/>
                  <a:pt x="7008" y="1972"/>
                </a:cubicBezTo>
                <a:close/>
                <a:moveTo>
                  <a:pt x="11031" y="1143"/>
                </a:moveTo>
                <a:lnTo>
                  <a:pt x="11031" y="1143"/>
                </a:lnTo>
                <a:lnTo>
                  <a:pt x="11031" y="1376"/>
                </a:lnTo>
                <a:cubicBezTo>
                  <a:pt x="11197" y="1415"/>
                  <a:pt x="11362" y="1461"/>
                  <a:pt x="11528" y="1514"/>
                </a:cubicBezTo>
                <a:lnTo>
                  <a:pt x="11528" y="1674"/>
                </a:lnTo>
                <a:cubicBezTo>
                  <a:pt x="11362" y="1621"/>
                  <a:pt x="11197" y="1575"/>
                  <a:pt x="11031" y="1536"/>
                </a:cubicBezTo>
                <a:lnTo>
                  <a:pt x="11031" y="1806"/>
                </a:lnTo>
                <a:cubicBezTo>
                  <a:pt x="11233" y="1854"/>
                  <a:pt x="11435" y="1912"/>
                  <a:pt x="11636" y="1980"/>
                </a:cubicBezTo>
                <a:cubicBezTo>
                  <a:pt x="11636" y="2035"/>
                  <a:pt x="11635" y="2090"/>
                  <a:pt x="11634" y="2145"/>
                </a:cubicBezTo>
                <a:cubicBezTo>
                  <a:pt x="11392" y="2062"/>
                  <a:pt x="11142" y="1990"/>
                  <a:pt x="10871" y="1936"/>
                </a:cubicBezTo>
                <a:lnTo>
                  <a:pt x="10871" y="954"/>
                </a:lnTo>
                <a:cubicBezTo>
                  <a:pt x="11138" y="997"/>
                  <a:pt x="11380" y="1055"/>
                  <a:pt x="11608" y="1122"/>
                </a:cubicBezTo>
                <a:cubicBezTo>
                  <a:pt x="11608" y="1177"/>
                  <a:pt x="11609" y="1231"/>
                  <a:pt x="11610" y="1286"/>
                </a:cubicBezTo>
                <a:cubicBezTo>
                  <a:pt x="11417" y="1229"/>
                  <a:pt x="11224" y="1181"/>
                  <a:pt x="11031" y="1143"/>
                </a:cubicBezTo>
                <a:close/>
                <a:moveTo>
                  <a:pt x="3820" y="3154"/>
                </a:moveTo>
                <a:lnTo>
                  <a:pt x="3820" y="3154"/>
                </a:lnTo>
                <a:cubicBezTo>
                  <a:pt x="3821" y="3005"/>
                  <a:pt x="3822" y="2436"/>
                  <a:pt x="3823" y="2319"/>
                </a:cubicBezTo>
                <a:cubicBezTo>
                  <a:pt x="3779" y="2440"/>
                  <a:pt x="3518" y="3024"/>
                  <a:pt x="3467" y="3139"/>
                </a:cubicBezTo>
                <a:cubicBezTo>
                  <a:pt x="3404" y="3135"/>
                  <a:pt x="3341" y="3129"/>
                  <a:pt x="3278" y="3123"/>
                </a:cubicBezTo>
                <a:cubicBezTo>
                  <a:pt x="3219" y="2981"/>
                  <a:pt x="2968" y="2379"/>
                  <a:pt x="2925" y="2260"/>
                </a:cubicBezTo>
                <a:cubicBezTo>
                  <a:pt x="2926" y="2373"/>
                  <a:pt x="2928" y="2905"/>
                  <a:pt x="2928" y="3077"/>
                </a:cubicBezTo>
                <a:cubicBezTo>
                  <a:pt x="2873" y="3068"/>
                  <a:pt x="2819" y="3058"/>
                  <a:pt x="2764" y="3047"/>
                </a:cubicBezTo>
                <a:lnTo>
                  <a:pt x="2771" y="2072"/>
                </a:lnTo>
                <a:cubicBezTo>
                  <a:pt x="2865" y="2093"/>
                  <a:pt x="2960" y="2112"/>
                  <a:pt x="3055" y="2128"/>
                </a:cubicBezTo>
                <a:cubicBezTo>
                  <a:pt x="3112" y="2273"/>
                  <a:pt x="3340" y="2856"/>
                  <a:pt x="3382" y="2972"/>
                </a:cubicBezTo>
                <a:lnTo>
                  <a:pt x="3694" y="2192"/>
                </a:lnTo>
                <a:cubicBezTo>
                  <a:pt x="3759" y="2195"/>
                  <a:pt x="3823" y="2198"/>
                  <a:pt x="3887" y="2198"/>
                </a:cubicBezTo>
                <a:cubicBezTo>
                  <a:pt x="3920" y="2198"/>
                  <a:pt x="3952" y="2197"/>
                  <a:pt x="3985" y="2196"/>
                </a:cubicBezTo>
                <a:lnTo>
                  <a:pt x="3985" y="3154"/>
                </a:lnTo>
                <a:cubicBezTo>
                  <a:pt x="3952" y="3154"/>
                  <a:pt x="3920" y="3156"/>
                  <a:pt x="3887" y="3156"/>
                </a:cubicBezTo>
                <a:cubicBezTo>
                  <a:pt x="3865" y="3156"/>
                  <a:pt x="3843" y="3154"/>
                  <a:pt x="3820" y="3154"/>
                </a:cubicBezTo>
                <a:close/>
                <a:moveTo>
                  <a:pt x="11751" y="2186"/>
                </a:moveTo>
                <a:lnTo>
                  <a:pt x="11751" y="2186"/>
                </a:lnTo>
                <a:lnTo>
                  <a:pt x="12156" y="1826"/>
                </a:lnTo>
                <a:lnTo>
                  <a:pt x="11783" y="1177"/>
                </a:lnTo>
                <a:cubicBezTo>
                  <a:pt x="11863" y="1204"/>
                  <a:pt x="11942" y="1231"/>
                  <a:pt x="12019" y="1259"/>
                </a:cubicBezTo>
                <a:lnTo>
                  <a:pt x="12295" y="1743"/>
                </a:lnTo>
                <a:lnTo>
                  <a:pt x="12562" y="1502"/>
                </a:lnTo>
                <a:lnTo>
                  <a:pt x="12738" y="1574"/>
                </a:lnTo>
                <a:lnTo>
                  <a:pt x="12378" y="1889"/>
                </a:lnTo>
                <a:lnTo>
                  <a:pt x="12772" y="2579"/>
                </a:lnTo>
                <a:lnTo>
                  <a:pt x="12529" y="2475"/>
                </a:lnTo>
                <a:lnTo>
                  <a:pt x="12241" y="1974"/>
                </a:lnTo>
                <a:lnTo>
                  <a:pt x="11923" y="2249"/>
                </a:lnTo>
                <a:cubicBezTo>
                  <a:pt x="11866" y="2228"/>
                  <a:pt x="11809" y="2207"/>
                  <a:pt x="11751" y="2186"/>
                </a:cubicBezTo>
                <a:close/>
                <a:moveTo>
                  <a:pt x="6466" y="2721"/>
                </a:moveTo>
                <a:lnTo>
                  <a:pt x="6466" y="2721"/>
                </a:lnTo>
                <a:lnTo>
                  <a:pt x="6466" y="1701"/>
                </a:lnTo>
                <a:cubicBezTo>
                  <a:pt x="6518" y="1680"/>
                  <a:pt x="6571" y="1660"/>
                  <a:pt x="6622" y="1639"/>
                </a:cubicBezTo>
                <a:lnTo>
                  <a:pt x="6622" y="2664"/>
                </a:lnTo>
                <a:cubicBezTo>
                  <a:pt x="6571" y="2683"/>
                  <a:pt x="6519" y="2702"/>
                  <a:pt x="6466" y="2721"/>
                </a:cubicBezTo>
                <a:close/>
                <a:moveTo>
                  <a:pt x="5804" y="2360"/>
                </a:moveTo>
                <a:lnTo>
                  <a:pt x="5804" y="2360"/>
                </a:lnTo>
                <a:cubicBezTo>
                  <a:pt x="5714" y="2381"/>
                  <a:pt x="5625" y="2400"/>
                  <a:pt x="5536" y="2418"/>
                </a:cubicBezTo>
                <a:lnTo>
                  <a:pt x="5536" y="2167"/>
                </a:lnTo>
                <a:cubicBezTo>
                  <a:pt x="5628" y="2146"/>
                  <a:pt x="5720" y="2124"/>
                  <a:pt x="5813" y="2099"/>
                </a:cubicBezTo>
                <a:cubicBezTo>
                  <a:pt x="5972" y="2056"/>
                  <a:pt x="6031" y="2049"/>
                  <a:pt x="6031" y="2165"/>
                </a:cubicBezTo>
                <a:cubicBezTo>
                  <a:pt x="6031" y="2216"/>
                  <a:pt x="5968" y="2316"/>
                  <a:pt x="5804" y="2360"/>
                </a:cubicBezTo>
                <a:close/>
                <a:moveTo>
                  <a:pt x="6212" y="2104"/>
                </a:moveTo>
                <a:lnTo>
                  <a:pt x="6212" y="2104"/>
                </a:lnTo>
                <a:cubicBezTo>
                  <a:pt x="6212" y="1919"/>
                  <a:pt x="6085" y="1866"/>
                  <a:pt x="5815" y="1939"/>
                </a:cubicBezTo>
                <a:cubicBezTo>
                  <a:pt x="5617" y="1991"/>
                  <a:pt x="5470" y="2020"/>
                  <a:pt x="5368" y="2043"/>
                </a:cubicBezTo>
                <a:lnTo>
                  <a:pt x="5368" y="3025"/>
                </a:lnTo>
                <a:cubicBezTo>
                  <a:pt x="5425" y="3014"/>
                  <a:pt x="5481" y="3002"/>
                  <a:pt x="5536" y="2990"/>
                </a:cubicBezTo>
                <a:lnTo>
                  <a:pt x="5536" y="2582"/>
                </a:lnTo>
                <a:cubicBezTo>
                  <a:pt x="5623" y="2563"/>
                  <a:pt x="5710" y="2542"/>
                  <a:pt x="5798" y="2520"/>
                </a:cubicBezTo>
                <a:cubicBezTo>
                  <a:pt x="5899" y="2631"/>
                  <a:pt x="6000" y="2739"/>
                  <a:pt x="6101" y="2843"/>
                </a:cubicBezTo>
                <a:cubicBezTo>
                  <a:pt x="6161" y="2824"/>
                  <a:pt x="6221" y="2805"/>
                  <a:pt x="6279" y="2786"/>
                </a:cubicBezTo>
                <a:cubicBezTo>
                  <a:pt x="6176" y="2679"/>
                  <a:pt x="6073" y="2569"/>
                  <a:pt x="5970" y="2455"/>
                </a:cubicBezTo>
                <a:cubicBezTo>
                  <a:pt x="6082" y="2396"/>
                  <a:pt x="6212" y="2287"/>
                  <a:pt x="6212" y="2104"/>
                </a:cubicBezTo>
                <a:close/>
                <a:moveTo>
                  <a:pt x="4451" y="2341"/>
                </a:moveTo>
                <a:lnTo>
                  <a:pt x="4451" y="2341"/>
                </a:lnTo>
                <a:lnTo>
                  <a:pt x="4451" y="2582"/>
                </a:lnTo>
                <a:cubicBezTo>
                  <a:pt x="4632" y="2569"/>
                  <a:pt x="4813" y="2549"/>
                  <a:pt x="4993" y="2521"/>
                </a:cubicBezTo>
                <a:lnTo>
                  <a:pt x="4993" y="2682"/>
                </a:lnTo>
                <a:cubicBezTo>
                  <a:pt x="4813" y="2709"/>
                  <a:pt x="4632" y="2729"/>
                  <a:pt x="4451" y="2742"/>
                </a:cubicBezTo>
                <a:lnTo>
                  <a:pt x="4451" y="2976"/>
                </a:lnTo>
                <a:cubicBezTo>
                  <a:pt x="4671" y="2965"/>
                  <a:pt x="4892" y="2943"/>
                  <a:pt x="5112" y="2911"/>
                </a:cubicBezTo>
                <a:cubicBezTo>
                  <a:pt x="5111" y="2963"/>
                  <a:pt x="5110" y="3016"/>
                  <a:pt x="5109" y="3068"/>
                </a:cubicBezTo>
                <a:cubicBezTo>
                  <a:pt x="4857" y="3107"/>
                  <a:pt x="4584" y="3133"/>
                  <a:pt x="4285" y="3146"/>
                </a:cubicBezTo>
                <a:lnTo>
                  <a:pt x="4285" y="2187"/>
                </a:lnTo>
                <a:cubicBezTo>
                  <a:pt x="4572" y="2172"/>
                  <a:pt x="4836" y="2142"/>
                  <a:pt x="5080" y="2100"/>
                </a:cubicBezTo>
                <a:cubicBezTo>
                  <a:pt x="5081" y="2156"/>
                  <a:pt x="5082" y="2211"/>
                  <a:pt x="5083" y="2267"/>
                </a:cubicBezTo>
                <a:cubicBezTo>
                  <a:pt x="4872" y="2302"/>
                  <a:pt x="4662" y="2327"/>
                  <a:pt x="4451" y="2341"/>
                </a:cubicBezTo>
                <a:close/>
                <a:moveTo>
                  <a:pt x="2248" y="2518"/>
                </a:moveTo>
                <a:lnTo>
                  <a:pt x="2248" y="2518"/>
                </a:lnTo>
                <a:cubicBezTo>
                  <a:pt x="2125" y="2475"/>
                  <a:pt x="2002" y="2428"/>
                  <a:pt x="1879" y="2375"/>
                </a:cubicBezTo>
                <a:cubicBezTo>
                  <a:pt x="1961" y="2193"/>
                  <a:pt x="2043" y="2012"/>
                  <a:pt x="2054" y="1984"/>
                </a:cubicBezTo>
                <a:lnTo>
                  <a:pt x="2248" y="2518"/>
                </a:lnTo>
                <a:close/>
                <a:moveTo>
                  <a:pt x="1562" y="2684"/>
                </a:moveTo>
                <a:lnTo>
                  <a:pt x="1562" y="2684"/>
                </a:lnTo>
                <a:cubicBezTo>
                  <a:pt x="1611" y="2705"/>
                  <a:pt x="1662" y="2724"/>
                  <a:pt x="1713" y="2744"/>
                </a:cubicBezTo>
                <a:cubicBezTo>
                  <a:pt x="1733" y="2699"/>
                  <a:pt x="1772" y="2612"/>
                  <a:pt x="1817" y="2513"/>
                </a:cubicBezTo>
                <a:cubicBezTo>
                  <a:pt x="1982" y="2582"/>
                  <a:pt x="2148" y="2643"/>
                  <a:pt x="2313" y="2695"/>
                </a:cubicBezTo>
                <a:lnTo>
                  <a:pt x="2412" y="2969"/>
                </a:lnTo>
                <a:cubicBezTo>
                  <a:pt x="2475" y="2985"/>
                  <a:pt x="2538" y="3000"/>
                  <a:pt x="2601" y="3014"/>
                </a:cubicBezTo>
                <a:lnTo>
                  <a:pt x="2201" y="1906"/>
                </a:lnTo>
                <a:cubicBezTo>
                  <a:pt x="2120" y="1877"/>
                  <a:pt x="2041" y="1846"/>
                  <a:pt x="1962" y="1813"/>
                </a:cubicBezTo>
                <a:lnTo>
                  <a:pt x="1562" y="2684"/>
                </a:lnTo>
                <a:close/>
                <a:moveTo>
                  <a:pt x="15998" y="2936"/>
                </a:moveTo>
                <a:lnTo>
                  <a:pt x="15998" y="2936"/>
                </a:lnTo>
                <a:lnTo>
                  <a:pt x="16193" y="2913"/>
                </a:lnTo>
                <a:cubicBezTo>
                  <a:pt x="16239" y="2981"/>
                  <a:pt x="16333" y="2999"/>
                  <a:pt x="16415" y="2993"/>
                </a:cubicBezTo>
                <a:lnTo>
                  <a:pt x="16415" y="3143"/>
                </a:lnTo>
                <a:cubicBezTo>
                  <a:pt x="16214" y="3162"/>
                  <a:pt x="16047" y="3083"/>
                  <a:pt x="15998" y="2936"/>
                </a:cubicBezTo>
                <a:close/>
                <a:moveTo>
                  <a:pt x="15705" y="1730"/>
                </a:moveTo>
                <a:lnTo>
                  <a:pt x="15705" y="1730"/>
                </a:lnTo>
                <a:cubicBezTo>
                  <a:pt x="15952" y="1730"/>
                  <a:pt x="16188" y="1712"/>
                  <a:pt x="16415" y="1677"/>
                </a:cubicBezTo>
                <a:lnTo>
                  <a:pt x="16415" y="1837"/>
                </a:lnTo>
                <a:cubicBezTo>
                  <a:pt x="16182" y="1873"/>
                  <a:pt x="15945" y="1891"/>
                  <a:pt x="15705" y="1891"/>
                </a:cubicBezTo>
                <a:cubicBezTo>
                  <a:pt x="13054" y="1891"/>
                  <a:pt x="12520" y="567"/>
                  <a:pt x="9796" y="567"/>
                </a:cubicBezTo>
                <a:cubicBezTo>
                  <a:pt x="7072" y="567"/>
                  <a:pt x="6537" y="1891"/>
                  <a:pt x="3887" y="1891"/>
                </a:cubicBezTo>
                <a:cubicBezTo>
                  <a:pt x="3026" y="1891"/>
                  <a:pt x="2197" y="1662"/>
                  <a:pt x="1484" y="1228"/>
                </a:cubicBezTo>
                <a:lnTo>
                  <a:pt x="837" y="2669"/>
                </a:lnTo>
                <a:cubicBezTo>
                  <a:pt x="1756" y="3188"/>
                  <a:pt x="2809" y="3462"/>
                  <a:pt x="3887" y="3462"/>
                </a:cubicBezTo>
                <a:cubicBezTo>
                  <a:pt x="6867" y="3462"/>
                  <a:pt x="7544" y="2138"/>
                  <a:pt x="9796" y="2138"/>
                </a:cubicBezTo>
                <a:cubicBezTo>
                  <a:pt x="12046" y="2138"/>
                  <a:pt x="12725" y="3462"/>
                  <a:pt x="15705" y="3462"/>
                </a:cubicBezTo>
                <a:cubicBezTo>
                  <a:pt x="15943" y="3462"/>
                  <a:pt x="16181" y="3449"/>
                  <a:pt x="16415" y="3422"/>
                </a:cubicBezTo>
                <a:lnTo>
                  <a:pt x="16415" y="3585"/>
                </a:lnTo>
                <a:cubicBezTo>
                  <a:pt x="16181" y="3610"/>
                  <a:pt x="15945" y="3623"/>
                  <a:pt x="15705" y="3623"/>
                </a:cubicBezTo>
                <a:cubicBezTo>
                  <a:pt x="12701" y="3623"/>
                  <a:pt x="11992" y="2299"/>
                  <a:pt x="9796" y="2299"/>
                </a:cubicBezTo>
                <a:cubicBezTo>
                  <a:pt x="7599" y="2299"/>
                  <a:pt x="6891" y="3623"/>
                  <a:pt x="3887" y="3623"/>
                </a:cubicBezTo>
                <a:cubicBezTo>
                  <a:pt x="2737" y="3623"/>
                  <a:pt x="1658" y="3332"/>
                  <a:pt x="631" y="2735"/>
                </a:cubicBezTo>
                <a:lnTo>
                  <a:pt x="1413" y="993"/>
                </a:lnTo>
                <a:cubicBezTo>
                  <a:pt x="2150" y="1463"/>
                  <a:pt x="2940" y="1730"/>
                  <a:pt x="3887" y="1730"/>
                </a:cubicBezTo>
                <a:cubicBezTo>
                  <a:pt x="6501" y="1730"/>
                  <a:pt x="7026" y="406"/>
                  <a:pt x="9796" y="406"/>
                </a:cubicBezTo>
                <a:cubicBezTo>
                  <a:pt x="12565" y="406"/>
                  <a:pt x="13091" y="1730"/>
                  <a:pt x="15705" y="1730"/>
                </a:cubicBezTo>
                <a:close/>
                <a:moveTo>
                  <a:pt x="13550" y="2146"/>
                </a:moveTo>
                <a:lnTo>
                  <a:pt x="13550" y="2146"/>
                </a:lnTo>
                <a:cubicBezTo>
                  <a:pt x="13550" y="2288"/>
                  <a:pt x="13439" y="2270"/>
                  <a:pt x="13270" y="2214"/>
                </a:cubicBezTo>
                <a:lnTo>
                  <a:pt x="13082" y="2155"/>
                </a:lnTo>
                <a:lnTo>
                  <a:pt x="13082" y="1861"/>
                </a:lnTo>
                <a:lnTo>
                  <a:pt x="13270" y="1920"/>
                </a:lnTo>
                <a:cubicBezTo>
                  <a:pt x="13443" y="1977"/>
                  <a:pt x="13550" y="2031"/>
                  <a:pt x="13550" y="2146"/>
                </a:cubicBezTo>
                <a:close/>
                <a:moveTo>
                  <a:pt x="12918" y="1640"/>
                </a:moveTo>
                <a:lnTo>
                  <a:pt x="12918" y="1640"/>
                </a:lnTo>
                <a:lnTo>
                  <a:pt x="12918" y="2639"/>
                </a:lnTo>
                <a:lnTo>
                  <a:pt x="13082" y="2701"/>
                </a:lnTo>
                <a:lnTo>
                  <a:pt x="13082" y="2310"/>
                </a:lnTo>
                <a:lnTo>
                  <a:pt x="13285" y="2375"/>
                </a:lnTo>
                <a:cubicBezTo>
                  <a:pt x="13582" y="2473"/>
                  <a:pt x="13714" y="2326"/>
                  <a:pt x="13714" y="2174"/>
                </a:cubicBezTo>
                <a:cubicBezTo>
                  <a:pt x="13714" y="2003"/>
                  <a:pt x="13620" y="1896"/>
                  <a:pt x="13414" y="1808"/>
                </a:cubicBezTo>
                <a:cubicBezTo>
                  <a:pt x="13356" y="1785"/>
                  <a:pt x="13252" y="1744"/>
                  <a:pt x="12918" y="1640"/>
                </a:cubicBezTo>
                <a:close/>
                <a:moveTo>
                  <a:pt x="16415" y="2110"/>
                </a:moveTo>
                <a:lnTo>
                  <a:pt x="16415" y="2110"/>
                </a:lnTo>
                <a:lnTo>
                  <a:pt x="16415" y="2253"/>
                </a:lnTo>
                <a:cubicBezTo>
                  <a:pt x="16278" y="2269"/>
                  <a:pt x="16193" y="2332"/>
                  <a:pt x="16193" y="2417"/>
                </a:cubicBezTo>
                <a:cubicBezTo>
                  <a:pt x="16193" y="2507"/>
                  <a:pt x="16292" y="2525"/>
                  <a:pt x="16415" y="2535"/>
                </a:cubicBezTo>
                <a:lnTo>
                  <a:pt x="16415" y="2691"/>
                </a:lnTo>
                <a:cubicBezTo>
                  <a:pt x="16410" y="2691"/>
                  <a:pt x="16404" y="2690"/>
                  <a:pt x="16398" y="2690"/>
                </a:cubicBezTo>
                <a:cubicBezTo>
                  <a:pt x="16285" y="2683"/>
                  <a:pt x="16003" y="2673"/>
                  <a:pt x="16003" y="2432"/>
                </a:cubicBezTo>
                <a:cubicBezTo>
                  <a:pt x="16003" y="2265"/>
                  <a:pt x="16165" y="2139"/>
                  <a:pt x="16415" y="2110"/>
                </a:cubicBezTo>
                <a:close/>
                <a:moveTo>
                  <a:pt x="16415" y="3995"/>
                </a:moveTo>
                <a:lnTo>
                  <a:pt x="16415" y="3995"/>
                </a:lnTo>
                <a:cubicBezTo>
                  <a:pt x="16181" y="4018"/>
                  <a:pt x="15944" y="4030"/>
                  <a:pt x="15705" y="4031"/>
                </a:cubicBezTo>
                <a:cubicBezTo>
                  <a:pt x="12676" y="4031"/>
                  <a:pt x="11815" y="2706"/>
                  <a:pt x="9796" y="2706"/>
                </a:cubicBezTo>
                <a:cubicBezTo>
                  <a:pt x="7775" y="2706"/>
                  <a:pt x="6915" y="4031"/>
                  <a:pt x="3887" y="4031"/>
                </a:cubicBezTo>
                <a:cubicBezTo>
                  <a:pt x="2504" y="4030"/>
                  <a:pt x="1193" y="3637"/>
                  <a:pt x="0" y="2810"/>
                </a:cubicBezTo>
                <a:lnTo>
                  <a:pt x="1076" y="194"/>
                </a:lnTo>
                <a:cubicBezTo>
                  <a:pt x="1895" y="963"/>
                  <a:pt x="2828" y="1323"/>
                  <a:pt x="3887" y="1323"/>
                </a:cubicBezTo>
                <a:cubicBezTo>
                  <a:pt x="6394" y="1323"/>
                  <a:pt x="6922" y="0"/>
                  <a:pt x="9796" y="0"/>
                </a:cubicBezTo>
                <a:cubicBezTo>
                  <a:pt x="12669" y="0"/>
                  <a:pt x="13197" y="1323"/>
                  <a:pt x="15705" y="1323"/>
                </a:cubicBezTo>
                <a:cubicBezTo>
                  <a:pt x="15948" y="1323"/>
                  <a:pt x="16185" y="1304"/>
                  <a:pt x="16415" y="1265"/>
                </a:cubicBezTo>
                <a:lnTo>
                  <a:pt x="16415" y="1426"/>
                </a:lnTo>
                <a:cubicBezTo>
                  <a:pt x="16183" y="1464"/>
                  <a:pt x="15946" y="1484"/>
                  <a:pt x="15705" y="1484"/>
                </a:cubicBezTo>
                <a:cubicBezTo>
                  <a:pt x="13151" y="1484"/>
                  <a:pt x="12632" y="159"/>
                  <a:pt x="9796" y="159"/>
                </a:cubicBezTo>
                <a:cubicBezTo>
                  <a:pt x="6959" y="159"/>
                  <a:pt x="6441" y="1484"/>
                  <a:pt x="3887" y="1484"/>
                </a:cubicBezTo>
                <a:cubicBezTo>
                  <a:pt x="2849" y="1484"/>
                  <a:pt x="1877" y="1124"/>
                  <a:pt x="1137" y="468"/>
                </a:cubicBezTo>
                <a:lnTo>
                  <a:pt x="197" y="2751"/>
                </a:lnTo>
                <a:cubicBezTo>
                  <a:pt x="1277" y="3483"/>
                  <a:pt x="2552" y="3870"/>
                  <a:pt x="3887" y="3870"/>
                </a:cubicBezTo>
                <a:cubicBezTo>
                  <a:pt x="6879" y="3870"/>
                  <a:pt x="7731" y="2545"/>
                  <a:pt x="9796" y="2545"/>
                </a:cubicBezTo>
                <a:cubicBezTo>
                  <a:pt x="11861" y="2545"/>
                  <a:pt x="12712" y="3870"/>
                  <a:pt x="15705" y="3870"/>
                </a:cubicBezTo>
                <a:cubicBezTo>
                  <a:pt x="15944" y="3870"/>
                  <a:pt x="16181" y="3857"/>
                  <a:pt x="16415" y="3833"/>
                </a:cubicBezTo>
                <a:lnTo>
                  <a:pt x="16415" y="3995"/>
                </a:lnTo>
                <a:close/>
                <a:moveTo>
                  <a:pt x="15166" y="2346"/>
                </a:moveTo>
                <a:lnTo>
                  <a:pt x="15166" y="2346"/>
                </a:lnTo>
                <a:lnTo>
                  <a:pt x="15166" y="2576"/>
                </a:lnTo>
                <a:cubicBezTo>
                  <a:pt x="15343" y="2590"/>
                  <a:pt x="15521" y="2597"/>
                  <a:pt x="15696" y="2597"/>
                </a:cubicBezTo>
                <a:lnTo>
                  <a:pt x="15696" y="2753"/>
                </a:lnTo>
                <a:cubicBezTo>
                  <a:pt x="15514" y="2753"/>
                  <a:pt x="15338" y="2746"/>
                  <a:pt x="15166" y="2732"/>
                </a:cubicBezTo>
                <a:lnTo>
                  <a:pt x="15166" y="2977"/>
                </a:lnTo>
                <a:cubicBezTo>
                  <a:pt x="15380" y="2995"/>
                  <a:pt x="15598" y="3002"/>
                  <a:pt x="15812" y="2998"/>
                </a:cubicBezTo>
                <a:cubicBezTo>
                  <a:pt x="15812" y="3010"/>
                  <a:pt x="15810" y="3140"/>
                  <a:pt x="15810" y="3152"/>
                </a:cubicBezTo>
                <a:cubicBezTo>
                  <a:pt x="15541" y="3157"/>
                  <a:pt x="15309" y="3152"/>
                  <a:pt x="15000" y="3127"/>
                </a:cubicBezTo>
                <a:lnTo>
                  <a:pt x="15000" y="2165"/>
                </a:lnTo>
                <a:cubicBezTo>
                  <a:pt x="15248" y="2189"/>
                  <a:pt x="15489" y="2200"/>
                  <a:pt x="15781" y="2196"/>
                </a:cubicBezTo>
                <a:cubicBezTo>
                  <a:pt x="15783" y="2308"/>
                  <a:pt x="15783" y="2332"/>
                  <a:pt x="15784" y="2359"/>
                </a:cubicBezTo>
                <a:cubicBezTo>
                  <a:pt x="15578" y="2363"/>
                  <a:pt x="15390" y="2361"/>
                  <a:pt x="15166" y="2346"/>
                </a:cubicBezTo>
                <a:close/>
                <a:moveTo>
                  <a:pt x="14324" y="2477"/>
                </a:moveTo>
                <a:lnTo>
                  <a:pt x="14324" y="2477"/>
                </a:lnTo>
                <a:lnTo>
                  <a:pt x="14065" y="2421"/>
                </a:lnTo>
                <a:lnTo>
                  <a:pt x="14065" y="2180"/>
                </a:lnTo>
                <a:lnTo>
                  <a:pt x="14315" y="2230"/>
                </a:lnTo>
                <a:cubicBezTo>
                  <a:pt x="14477" y="2261"/>
                  <a:pt x="14554" y="2281"/>
                  <a:pt x="14554" y="2389"/>
                </a:cubicBezTo>
                <a:cubicBezTo>
                  <a:pt x="14554" y="2504"/>
                  <a:pt x="14441" y="2499"/>
                  <a:pt x="14324" y="2477"/>
                </a:cubicBezTo>
                <a:close/>
                <a:moveTo>
                  <a:pt x="14727" y="2415"/>
                </a:moveTo>
                <a:lnTo>
                  <a:pt x="14727" y="2415"/>
                </a:lnTo>
                <a:cubicBezTo>
                  <a:pt x="14727" y="2230"/>
                  <a:pt x="14602" y="2120"/>
                  <a:pt x="14335" y="2069"/>
                </a:cubicBezTo>
                <a:cubicBezTo>
                  <a:pt x="14335" y="2069"/>
                  <a:pt x="14087" y="2014"/>
                  <a:pt x="13898" y="1961"/>
                </a:cubicBezTo>
                <a:lnTo>
                  <a:pt x="13898" y="2953"/>
                </a:lnTo>
                <a:cubicBezTo>
                  <a:pt x="13953" y="2966"/>
                  <a:pt x="14009" y="2979"/>
                  <a:pt x="14065" y="2991"/>
                </a:cubicBezTo>
                <a:lnTo>
                  <a:pt x="14065" y="2587"/>
                </a:lnTo>
                <a:lnTo>
                  <a:pt x="14279" y="2628"/>
                </a:lnTo>
                <a:lnTo>
                  <a:pt x="14546" y="3077"/>
                </a:lnTo>
                <a:cubicBezTo>
                  <a:pt x="14616" y="3087"/>
                  <a:pt x="14687" y="3096"/>
                  <a:pt x="14760" y="3104"/>
                </a:cubicBezTo>
                <a:lnTo>
                  <a:pt x="14485" y="2642"/>
                </a:lnTo>
                <a:cubicBezTo>
                  <a:pt x="14627" y="2629"/>
                  <a:pt x="14727" y="2561"/>
                  <a:pt x="14727" y="2415"/>
                </a:cubicBezTo>
                <a:close/>
              </a:path>
            </a:pathLst>
          </a:custGeom>
          <a:solidFill>
            <a:srgbClr val="006FC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 name="Title 1">
            <a:extLst>
              <a:ext uri="{FF2B5EF4-FFF2-40B4-BE49-F238E27FC236}">
                <a16:creationId xmlns:a16="http://schemas.microsoft.com/office/drawing/2014/main" id="{F9AC90E9-8548-4F44-A404-4532EB3B482D}"/>
              </a:ext>
            </a:extLst>
          </p:cNvPr>
          <p:cNvSpPr>
            <a:spLocks noGrp="1"/>
          </p:cNvSpPr>
          <p:nvPr>
            <p:ph type="title" hasCustomPrompt="1"/>
          </p:nvPr>
        </p:nvSpPr>
        <p:spPr>
          <a:xfrm>
            <a:off x="609601" y="546101"/>
            <a:ext cx="9266767" cy="2255519"/>
          </a:xfrm>
        </p:spPr>
        <p:txBody>
          <a:bodyPr anchor="b" anchorCtr="0"/>
          <a:lstStyle>
            <a:lvl1pPr>
              <a:defRPr sz="4267" spc="-80" baseline="0"/>
            </a:lvl1pPr>
          </a:lstStyle>
          <a:p>
            <a:r>
              <a:rPr lang="en-US"/>
              <a:t>Section header title</a:t>
            </a:r>
          </a:p>
        </p:txBody>
      </p:sp>
      <p:sp>
        <p:nvSpPr>
          <p:cNvPr id="3" name="Text Placeholder 2">
            <a:extLst>
              <a:ext uri="{FF2B5EF4-FFF2-40B4-BE49-F238E27FC236}">
                <a16:creationId xmlns:a16="http://schemas.microsoft.com/office/drawing/2014/main" id="{0E07319C-9A3D-6A49-8F17-E79484E38275}"/>
              </a:ext>
            </a:extLst>
          </p:cNvPr>
          <p:cNvSpPr>
            <a:spLocks noGrp="1"/>
          </p:cNvSpPr>
          <p:nvPr>
            <p:ph type="body" idx="1" hasCustomPrompt="1"/>
          </p:nvPr>
        </p:nvSpPr>
        <p:spPr>
          <a:xfrm>
            <a:off x="609601" y="2987041"/>
            <a:ext cx="5304367" cy="608356"/>
          </a:xfrm>
        </p:spPr>
        <p:txBody>
          <a:bodyPr>
            <a:noAutofit/>
          </a:bodyPr>
          <a:lstStyle>
            <a:lvl1pPr marL="0" indent="0">
              <a:spcBef>
                <a:spcPts val="0"/>
              </a:spcBef>
              <a:buNone/>
              <a:defRPr sz="1333" cap="none" baseline="0">
                <a:solidFill>
                  <a:schemeClr val="tx1"/>
                </a:solidFill>
              </a:defRPr>
            </a:lvl1pPr>
            <a:lvl2pPr marL="0" indent="0">
              <a:spcBef>
                <a:spcPts val="0"/>
              </a:spcBef>
              <a:buNone/>
              <a:defRPr sz="1333" cap="all" baseline="0">
                <a:solidFill>
                  <a:schemeClr val="tx1"/>
                </a:solidFill>
              </a:defRPr>
            </a:lvl2pPr>
            <a:lvl3pPr marL="0" indent="0">
              <a:spcBef>
                <a:spcPts val="0"/>
              </a:spcBef>
              <a:buNone/>
              <a:defRPr sz="1333" cap="all" baseline="0">
                <a:solidFill>
                  <a:schemeClr val="tx1"/>
                </a:solidFill>
              </a:defRPr>
            </a:lvl3pPr>
            <a:lvl4pPr marL="0" indent="0">
              <a:spcBef>
                <a:spcPts val="0"/>
              </a:spcBef>
              <a:buNone/>
              <a:defRPr sz="1333" cap="all" baseline="0">
                <a:solidFill>
                  <a:schemeClr val="tx1"/>
                </a:solidFill>
              </a:defRPr>
            </a:lvl4pPr>
            <a:lvl5pPr marL="0" indent="0">
              <a:spcBef>
                <a:spcPts val="0"/>
              </a:spcBef>
              <a:buNone/>
              <a:defRPr sz="1333" cap="all" baseline="0">
                <a:solidFill>
                  <a:schemeClr val="tx1"/>
                </a:solidFill>
              </a:defRPr>
            </a:lvl5pPr>
            <a:lvl6pPr marL="0" indent="0">
              <a:spcBef>
                <a:spcPts val="0"/>
              </a:spcBef>
              <a:buNone/>
              <a:defRPr sz="1333" cap="all" baseline="0">
                <a:solidFill>
                  <a:schemeClr val="tx1"/>
                </a:solidFill>
              </a:defRPr>
            </a:lvl6pPr>
            <a:lvl7pPr marL="0" indent="0">
              <a:spcBef>
                <a:spcPts val="0"/>
              </a:spcBef>
              <a:buNone/>
              <a:defRPr sz="1333" cap="all" baseline="0">
                <a:solidFill>
                  <a:schemeClr val="tx1"/>
                </a:solidFill>
              </a:defRPr>
            </a:lvl7pPr>
            <a:lvl8pPr marL="0" indent="0">
              <a:spcBef>
                <a:spcPts val="0"/>
              </a:spcBef>
              <a:buNone/>
              <a:defRPr sz="1333" cap="all" baseline="0">
                <a:solidFill>
                  <a:schemeClr val="tx1"/>
                </a:solidFill>
              </a:defRPr>
            </a:lvl8pPr>
            <a:lvl9pPr marL="0" indent="0">
              <a:spcBef>
                <a:spcPts val="0"/>
              </a:spcBef>
              <a:buNone/>
              <a:defRPr sz="1333" cap="all" baseline="0">
                <a:solidFill>
                  <a:schemeClr val="tx1"/>
                </a:solidFill>
              </a:defRPr>
            </a:lvl9pPr>
          </a:lstStyle>
          <a:p>
            <a:pPr lvl="0"/>
            <a:r>
              <a:rPr lang="en-US"/>
              <a:t>Optional subtitle</a:t>
            </a:r>
          </a:p>
        </p:txBody>
      </p:sp>
    </p:spTree>
    <p:extLst>
      <p:ext uri="{BB962C8B-B14F-4D97-AF65-F5344CB8AC3E}">
        <p14:creationId xmlns:p14="http://schemas.microsoft.com/office/powerpoint/2010/main" val="204800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01 Blue">
    <p:spTree>
      <p:nvGrpSpPr>
        <p:cNvPr id="1" name=""/>
        <p:cNvGrpSpPr/>
        <p:nvPr/>
      </p:nvGrpSpPr>
      <p:grpSpPr>
        <a:xfrm>
          <a:off x="0" y="0"/>
          <a:ext cx="0" cy="0"/>
          <a:chOff x="0" y="0"/>
          <a:chExt cx="0" cy="0"/>
        </a:xfrm>
      </p:grpSpPr>
      <p:sp>
        <p:nvSpPr>
          <p:cNvPr id="4" name="Freeform 5">
            <a:extLst>
              <a:ext uri="{FF2B5EF4-FFF2-40B4-BE49-F238E27FC236}">
                <a16:creationId xmlns:a16="http://schemas.microsoft.com/office/drawing/2014/main" id="{E01E55ED-B9BC-124E-93D5-EC36F4D89B7C}"/>
              </a:ext>
            </a:extLst>
          </p:cNvPr>
          <p:cNvSpPr>
            <a:spLocks noEditPoints="1"/>
          </p:cNvSpPr>
          <p:nvPr userDrawn="1"/>
        </p:nvSpPr>
        <p:spPr bwMode="hidden">
          <a:xfrm>
            <a:off x="1771650" y="3711825"/>
            <a:ext cx="10420351" cy="2563284"/>
          </a:xfrm>
          <a:custGeom>
            <a:avLst/>
            <a:gdLst>
              <a:gd name="T0" fmla="*/ 8350 w 16415"/>
              <a:gd name="T1" fmla="*/ 1167 h 4031"/>
              <a:gd name="T2" fmla="*/ 8005 w 16415"/>
              <a:gd name="T3" fmla="*/ 2128 h 4031"/>
              <a:gd name="T4" fmla="*/ 8883 w 16415"/>
              <a:gd name="T5" fmla="*/ 1905 h 4031"/>
              <a:gd name="T6" fmla="*/ 9866 w 16415"/>
              <a:gd name="T7" fmla="*/ 1832 h 4031"/>
              <a:gd name="T8" fmla="*/ 9058 w 16415"/>
              <a:gd name="T9" fmla="*/ 1879 h 4031"/>
              <a:gd name="T10" fmla="*/ 9862 w 16415"/>
              <a:gd name="T11" fmla="*/ 874 h 4031"/>
              <a:gd name="T12" fmla="*/ 7008 w 16415"/>
              <a:gd name="T13" fmla="*/ 1972 h 4031"/>
              <a:gd name="T14" fmla="*/ 7710 w 16415"/>
              <a:gd name="T15" fmla="*/ 1980 h 4031"/>
              <a:gd name="T16" fmla="*/ 7709 w 16415"/>
              <a:gd name="T17" fmla="*/ 1539 h 4031"/>
              <a:gd name="T18" fmla="*/ 11031 w 16415"/>
              <a:gd name="T19" fmla="*/ 1143 h 4031"/>
              <a:gd name="T20" fmla="*/ 11528 w 16415"/>
              <a:gd name="T21" fmla="*/ 1674 h 4031"/>
              <a:gd name="T22" fmla="*/ 11634 w 16415"/>
              <a:gd name="T23" fmla="*/ 2145 h 4031"/>
              <a:gd name="T24" fmla="*/ 11610 w 16415"/>
              <a:gd name="T25" fmla="*/ 1286 h 4031"/>
              <a:gd name="T26" fmla="*/ 3823 w 16415"/>
              <a:gd name="T27" fmla="*/ 2319 h 4031"/>
              <a:gd name="T28" fmla="*/ 2928 w 16415"/>
              <a:gd name="T29" fmla="*/ 3077 h 4031"/>
              <a:gd name="T30" fmla="*/ 3382 w 16415"/>
              <a:gd name="T31" fmla="*/ 2972 h 4031"/>
              <a:gd name="T32" fmla="*/ 3985 w 16415"/>
              <a:gd name="T33" fmla="*/ 3154 h 4031"/>
              <a:gd name="T34" fmla="*/ 11751 w 16415"/>
              <a:gd name="T35" fmla="*/ 2186 h 4031"/>
              <a:gd name="T36" fmla="*/ 12295 w 16415"/>
              <a:gd name="T37" fmla="*/ 1743 h 4031"/>
              <a:gd name="T38" fmla="*/ 12772 w 16415"/>
              <a:gd name="T39" fmla="*/ 2579 h 4031"/>
              <a:gd name="T40" fmla="*/ 11751 w 16415"/>
              <a:gd name="T41" fmla="*/ 2186 h 4031"/>
              <a:gd name="T42" fmla="*/ 6622 w 16415"/>
              <a:gd name="T43" fmla="*/ 1639 h 4031"/>
              <a:gd name="T44" fmla="*/ 5804 w 16415"/>
              <a:gd name="T45" fmla="*/ 2360 h 4031"/>
              <a:gd name="T46" fmla="*/ 6031 w 16415"/>
              <a:gd name="T47" fmla="*/ 2165 h 4031"/>
              <a:gd name="T48" fmla="*/ 5815 w 16415"/>
              <a:gd name="T49" fmla="*/ 1939 h 4031"/>
              <a:gd name="T50" fmla="*/ 5536 w 16415"/>
              <a:gd name="T51" fmla="*/ 2582 h 4031"/>
              <a:gd name="T52" fmla="*/ 5970 w 16415"/>
              <a:gd name="T53" fmla="*/ 2455 h 4031"/>
              <a:gd name="T54" fmla="*/ 4451 w 16415"/>
              <a:gd name="T55" fmla="*/ 2582 h 4031"/>
              <a:gd name="T56" fmla="*/ 4451 w 16415"/>
              <a:gd name="T57" fmla="*/ 2976 h 4031"/>
              <a:gd name="T58" fmla="*/ 4285 w 16415"/>
              <a:gd name="T59" fmla="*/ 2187 h 4031"/>
              <a:gd name="T60" fmla="*/ 2248 w 16415"/>
              <a:gd name="T61" fmla="*/ 2518 h 4031"/>
              <a:gd name="T62" fmla="*/ 2248 w 16415"/>
              <a:gd name="T63" fmla="*/ 2518 h 4031"/>
              <a:gd name="T64" fmla="*/ 1817 w 16415"/>
              <a:gd name="T65" fmla="*/ 2513 h 4031"/>
              <a:gd name="T66" fmla="*/ 2201 w 16415"/>
              <a:gd name="T67" fmla="*/ 1906 h 4031"/>
              <a:gd name="T68" fmla="*/ 15998 w 16415"/>
              <a:gd name="T69" fmla="*/ 2936 h 4031"/>
              <a:gd name="T70" fmla="*/ 15998 w 16415"/>
              <a:gd name="T71" fmla="*/ 2936 h 4031"/>
              <a:gd name="T72" fmla="*/ 16415 w 16415"/>
              <a:gd name="T73" fmla="*/ 1837 h 4031"/>
              <a:gd name="T74" fmla="*/ 1484 w 16415"/>
              <a:gd name="T75" fmla="*/ 1228 h 4031"/>
              <a:gd name="T76" fmla="*/ 15705 w 16415"/>
              <a:gd name="T77" fmla="*/ 3462 h 4031"/>
              <a:gd name="T78" fmla="*/ 9796 w 16415"/>
              <a:gd name="T79" fmla="*/ 2299 h 4031"/>
              <a:gd name="T80" fmla="*/ 3887 w 16415"/>
              <a:gd name="T81" fmla="*/ 1730 h 4031"/>
              <a:gd name="T82" fmla="*/ 13550 w 16415"/>
              <a:gd name="T83" fmla="*/ 2146 h 4031"/>
              <a:gd name="T84" fmla="*/ 13270 w 16415"/>
              <a:gd name="T85" fmla="*/ 1920 h 4031"/>
              <a:gd name="T86" fmla="*/ 12918 w 16415"/>
              <a:gd name="T87" fmla="*/ 2639 h 4031"/>
              <a:gd name="T88" fmla="*/ 13714 w 16415"/>
              <a:gd name="T89" fmla="*/ 2174 h 4031"/>
              <a:gd name="T90" fmla="*/ 16415 w 16415"/>
              <a:gd name="T91" fmla="*/ 2110 h 4031"/>
              <a:gd name="T92" fmla="*/ 16415 w 16415"/>
              <a:gd name="T93" fmla="*/ 2691 h 4031"/>
              <a:gd name="T94" fmla="*/ 16415 w 16415"/>
              <a:gd name="T95" fmla="*/ 3995 h 4031"/>
              <a:gd name="T96" fmla="*/ 3887 w 16415"/>
              <a:gd name="T97" fmla="*/ 4031 h 4031"/>
              <a:gd name="T98" fmla="*/ 9796 w 16415"/>
              <a:gd name="T99" fmla="*/ 0 h 4031"/>
              <a:gd name="T100" fmla="*/ 15705 w 16415"/>
              <a:gd name="T101" fmla="*/ 1484 h 4031"/>
              <a:gd name="T102" fmla="*/ 197 w 16415"/>
              <a:gd name="T103" fmla="*/ 2751 h 4031"/>
              <a:gd name="T104" fmla="*/ 16415 w 16415"/>
              <a:gd name="T105" fmla="*/ 3833 h 4031"/>
              <a:gd name="T106" fmla="*/ 15166 w 16415"/>
              <a:gd name="T107" fmla="*/ 2576 h 4031"/>
              <a:gd name="T108" fmla="*/ 15166 w 16415"/>
              <a:gd name="T109" fmla="*/ 2977 h 4031"/>
              <a:gd name="T110" fmla="*/ 15000 w 16415"/>
              <a:gd name="T111" fmla="*/ 2165 h 4031"/>
              <a:gd name="T112" fmla="*/ 14324 w 16415"/>
              <a:gd name="T113" fmla="*/ 2477 h 4031"/>
              <a:gd name="T114" fmla="*/ 14315 w 16415"/>
              <a:gd name="T115" fmla="*/ 2230 h 4031"/>
              <a:gd name="T116" fmla="*/ 14727 w 16415"/>
              <a:gd name="T117" fmla="*/ 2415 h 4031"/>
              <a:gd name="T118" fmla="*/ 14065 w 16415"/>
              <a:gd name="T119" fmla="*/ 2991 h 4031"/>
              <a:gd name="T120" fmla="*/ 14760 w 16415"/>
              <a:gd name="T121" fmla="*/ 3104 h 4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415" h="4031">
                <a:moveTo>
                  <a:pt x="8553" y="1601"/>
                </a:moveTo>
                <a:lnTo>
                  <a:pt x="8553" y="1601"/>
                </a:lnTo>
                <a:cubicBezTo>
                  <a:pt x="8420" y="1626"/>
                  <a:pt x="8286" y="1662"/>
                  <a:pt x="8154" y="1710"/>
                </a:cubicBezTo>
                <a:cubicBezTo>
                  <a:pt x="8206" y="1564"/>
                  <a:pt x="8337" y="1201"/>
                  <a:pt x="8350" y="1167"/>
                </a:cubicBezTo>
                <a:cubicBezTo>
                  <a:pt x="8350" y="1167"/>
                  <a:pt x="8497" y="1482"/>
                  <a:pt x="8553" y="1601"/>
                </a:cubicBezTo>
                <a:close/>
                <a:moveTo>
                  <a:pt x="7806" y="2198"/>
                </a:moveTo>
                <a:lnTo>
                  <a:pt x="7806" y="2198"/>
                </a:lnTo>
                <a:cubicBezTo>
                  <a:pt x="7872" y="2174"/>
                  <a:pt x="7938" y="2151"/>
                  <a:pt x="8005" y="2128"/>
                </a:cubicBezTo>
                <a:cubicBezTo>
                  <a:pt x="8033" y="2050"/>
                  <a:pt x="8062" y="1969"/>
                  <a:pt x="8091" y="1889"/>
                </a:cubicBezTo>
                <a:cubicBezTo>
                  <a:pt x="8264" y="1820"/>
                  <a:pt x="8441" y="1769"/>
                  <a:pt x="8618" y="1739"/>
                </a:cubicBezTo>
                <a:cubicBezTo>
                  <a:pt x="8636" y="1778"/>
                  <a:pt x="8693" y="1899"/>
                  <a:pt x="8711" y="1938"/>
                </a:cubicBezTo>
                <a:cubicBezTo>
                  <a:pt x="8732" y="1932"/>
                  <a:pt x="8862" y="1909"/>
                  <a:pt x="8883" y="1905"/>
                </a:cubicBezTo>
                <a:cubicBezTo>
                  <a:pt x="8740" y="1608"/>
                  <a:pt x="8591" y="1306"/>
                  <a:pt x="8439" y="1007"/>
                </a:cubicBezTo>
                <a:cubicBezTo>
                  <a:pt x="8369" y="1022"/>
                  <a:pt x="8300" y="1038"/>
                  <a:pt x="8234" y="1055"/>
                </a:cubicBezTo>
                <a:cubicBezTo>
                  <a:pt x="8086" y="1440"/>
                  <a:pt x="7942" y="1825"/>
                  <a:pt x="7806" y="2198"/>
                </a:cubicBezTo>
                <a:close/>
                <a:moveTo>
                  <a:pt x="9866" y="1832"/>
                </a:moveTo>
                <a:lnTo>
                  <a:pt x="9866" y="1832"/>
                </a:lnTo>
                <a:cubicBezTo>
                  <a:pt x="9649" y="1579"/>
                  <a:pt x="9429" y="1337"/>
                  <a:pt x="9213" y="1102"/>
                </a:cubicBezTo>
                <a:cubicBezTo>
                  <a:pt x="9213" y="1355"/>
                  <a:pt x="9214" y="1608"/>
                  <a:pt x="9214" y="1860"/>
                </a:cubicBezTo>
                <a:cubicBezTo>
                  <a:pt x="9161" y="1866"/>
                  <a:pt x="9110" y="1872"/>
                  <a:pt x="9058" y="1879"/>
                </a:cubicBezTo>
                <a:lnTo>
                  <a:pt x="9058" y="910"/>
                </a:lnTo>
                <a:cubicBezTo>
                  <a:pt x="9119" y="904"/>
                  <a:pt x="9182" y="899"/>
                  <a:pt x="9245" y="894"/>
                </a:cubicBezTo>
                <a:cubicBezTo>
                  <a:pt x="9450" y="1114"/>
                  <a:pt x="9659" y="1340"/>
                  <a:pt x="9864" y="1576"/>
                </a:cubicBezTo>
                <a:cubicBezTo>
                  <a:pt x="9863" y="1342"/>
                  <a:pt x="9862" y="1108"/>
                  <a:pt x="9862" y="874"/>
                </a:cubicBezTo>
                <a:cubicBezTo>
                  <a:pt x="9914" y="875"/>
                  <a:pt x="9965" y="875"/>
                  <a:pt x="10016" y="877"/>
                </a:cubicBezTo>
                <a:lnTo>
                  <a:pt x="10016" y="1835"/>
                </a:lnTo>
                <a:cubicBezTo>
                  <a:pt x="9966" y="1833"/>
                  <a:pt x="9916" y="1832"/>
                  <a:pt x="9866" y="1832"/>
                </a:cubicBezTo>
                <a:close/>
                <a:moveTo>
                  <a:pt x="7008" y="1972"/>
                </a:moveTo>
                <a:lnTo>
                  <a:pt x="7008" y="1972"/>
                </a:lnTo>
                <a:cubicBezTo>
                  <a:pt x="7008" y="2193"/>
                  <a:pt x="7087" y="2335"/>
                  <a:pt x="7297" y="2266"/>
                </a:cubicBezTo>
                <a:cubicBezTo>
                  <a:pt x="7418" y="2227"/>
                  <a:pt x="7504" y="2140"/>
                  <a:pt x="7541" y="2023"/>
                </a:cubicBezTo>
                <a:lnTo>
                  <a:pt x="7710" y="1980"/>
                </a:lnTo>
                <a:cubicBezTo>
                  <a:pt x="7664" y="2186"/>
                  <a:pt x="7515" y="2350"/>
                  <a:pt x="7304" y="2418"/>
                </a:cubicBezTo>
                <a:cubicBezTo>
                  <a:pt x="7014" y="2512"/>
                  <a:pt x="6845" y="2339"/>
                  <a:pt x="6845" y="2023"/>
                </a:cubicBezTo>
                <a:cubicBezTo>
                  <a:pt x="6845" y="1700"/>
                  <a:pt x="7024" y="1433"/>
                  <a:pt x="7302" y="1343"/>
                </a:cubicBezTo>
                <a:cubicBezTo>
                  <a:pt x="7500" y="1279"/>
                  <a:pt x="7672" y="1333"/>
                  <a:pt x="7709" y="1539"/>
                </a:cubicBezTo>
                <a:lnTo>
                  <a:pt x="7553" y="1587"/>
                </a:lnTo>
                <a:cubicBezTo>
                  <a:pt x="7521" y="1476"/>
                  <a:pt x="7417" y="1467"/>
                  <a:pt x="7308" y="1503"/>
                </a:cubicBezTo>
                <a:cubicBezTo>
                  <a:pt x="7131" y="1560"/>
                  <a:pt x="7008" y="1796"/>
                  <a:pt x="7008" y="1972"/>
                </a:cubicBezTo>
                <a:close/>
                <a:moveTo>
                  <a:pt x="11031" y="1143"/>
                </a:moveTo>
                <a:lnTo>
                  <a:pt x="11031" y="1143"/>
                </a:lnTo>
                <a:lnTo>
                  <a:pt x="11031" y="1376"/>
                </a:lnTo>
                <a:cubicBezTo>
                  <a:pt x="11197" y="1415"/>
                  <a:pt x="11362" y="1461"/>
                  <a:pt x="11528" y="1514"/>
                </a:cubicBezTo>
                <a:lnTo>
                  <a:pt x="11528" y="1674"/>
                </a:lnTo>
                <a:cubicBezTo>
                  <a:pt x="11362" y="1621"/>
                  <a:pt x="11197" y="1575"/>
                  <a:pt x="11031" y="1536"/>
                </a:cubicBezTo>
                <a:lnTo>
                  <a:pt x="11031" y="1806"/>
                </a:lnTo>
                <a:cubicBezTo>
                  <a:pt x="11233" y="1854"/>
                  <a:pt x="11435" y="1912"/>
                  <a:pt x="11636" y="1980"/>
                </a:cubicBezTo>
                <a:cubicBezTo>
                  <a:pt x="11636" y="2035"/>
                  <a:pt x="11635" y="2090"/>
                  <a:pt x="11634" y="2145"/>
                </a:cubicBezTo>
                <a:cubicBezTo>
                  <a:pt x="11392" y="2062"/>
                  <a:pt x="11142" y="1990"/>
                  <a:pt x="10871" y="1936"/>
                </a:cubicBezTo>
                <a:lnTo>
                  <a:pt x="10871" y="954"/>
                </a:lnTo>
                <a:cubicBezTo>
                  <a:pt x="11138" y="997"/>
                  <a:pt x="11380" y="1055"/>
                  <a:pt x="11608" y="1122"/>
                </a:cubicBezTo>
                <a:cubicBezTo>
                  <a:pt x="11608" y="1177"/>
                  <a:pt x="11609" y="1231"/>
                  <a:pt x="11610" y="1286"/>
                </a:cubicBezTo>
                <a:cubicBezTo>
                  <a:pt x="11417" y="1229"/>
                  <a:pt x="11224" y="1181"/>
                  <a:pt x="11031" y="1143"/>
                </a:cubicBezTo>
                <a:close/>
                <a:moveTo>
                  <a:pt x="3820" y="3154"/>
                </a:moveTo>
                <a:lnTo>
                  <a:pt x="3820" y="3154"/>
                </a:lnTo>
                <a:cubicBezTo>
                  <a:pt x="3821" y="3005"/>
                  <a:pt x="3822" y="2436"/>
                  <a:pt x="3823" y="2319"/>
                </a:cubicBezTo>
                <a:cubicBezTo>
                  <a:pt x="3779" y="2440"/>
                  <a:pt x="3518" y="3024"/>
                  <a:pt x="3467" y="3139"/>
                </a:cubicBezTo>
                <a:cubicBezTo>
                  <a:pt x="3404" y="3135"/>
                  <a:pt x="3341" y="3129"/>
                  <a:pt x="3278" y="3123"/>
                </a:cubicBezTo>
                <a:cubicBezTo>
                  <a:pt x="3219" y="2981"/>
                  <a:pt x="2968" y="2379"/>
                  <a:pt x="2925" y="2260"/>
                </a:cubicBezTo>
                <a:cubicBezTo>
                  <a:pt x="2926" y="2373"/>
                  <a:pt x="2928" y="2905"/>
                  <a:pt x="2928" y="3077"/>
                </a:cubicBezTo>
                <a:cubicBezTo>
                  <a:pt x="2873" y="3068"/>
                  <a:pt x="2819" y="3058"/>
                  <a:pt x="2764" y="3047"/>
                </a:cubicBezTo>
                <a:lnTo>
                  <a:pt x="2771" y="2072"/>
                </a:lnTo>
                <a:cubicBezTo>
                  <a:pt x="2865" y="2093"/>
                  <a:pt x="2960" y="2112"/>
                  <a:pt x="3055" y="2128"/>
                </a:cubicBezTo>
                <a:cubicBezTo>
                  <a:pt x="3112" y="2273"/>
                  <a:pt x="3340" y="2856"/>
                  <a:pt x="3382" y="2972"/>
                </a:cubicBezTo>
                <a:lnTo>
                  <a:pt x="3694" y="2192"/>
                </a:lnTo>
                <a:cubicBezTo>
                  <a:pt x="3759" y="2195"/>
                  <a:pt x="3823" y="2198"/>
                  <a:pt x="3887" y="2198"/>
                </a:cubicBezTo>
                <a:cubicBezTo>
                  <a:pt x="3920" y="2198"/>
                  <a:pt x="3952" y="2197"/>
                  <a:pt x="3985" y="2196"/>
                </a:cubicBezTo>
                <a:lnTo>
                  <a:pt x="3985" y="3154"/>
                </a:lnTo>
                <a:cubicBezTo>
                  <a:pt x="3952" y="3154"/>
                  <a:pt x="3920" y="3156"/>
                  <a:pt x="3887" y="3156"/>
                </a:cubicBezTo>
                <a:cubicBezTo>
                  <a:pt x="3865" y="3156"/>
                  <a:pt x="3843" y="3154"/>
                  <a:pt x="3820" y="3154"/>
                </a:cubicBezTo>
                <a:close/>
                <a:moveTo>
                  <a:pt x="11751" y="2186"/>
                </a:moveTo>
                <a:lnTo>
                  <a:pt x="11751" y="2186"/>
                </a:lnTo>
                <a:lnTo>
                  <a:pt x="12156" y="1826"/>
                </a:lnTo>
                <a:lnTo>
                  <a:pt x="11783" y="1177"/>
                </a:lnTo>
                <a:cubicBezTo>
                  <a:pt x="11863" y="1204"/>
                  <a:pt x="11942" y="1231"/>
                  <a:pt x="12019" y="1259"/>
                </a:cubicBezTo>
                <a:lnTo>
                  <a:pt x="12295" y="1743"/>
                </a:lnTo>
                <a:lnTo>
                  <a:pt x="12562" y="1502"/>
                </a:lnTo>
                <a:lnTo>
                  <a:pt x="12738" y="1574"/>
                </a:lnTo>
                <a:lnTo>
                  <a:pt x="12378" y="1889"/>
                </a:lnTo>
                <a:lnTo>
                  <a:pt x="12772" y="2579"/>
                </a:lnTo>
                <a:lnTo>
                  <a:pt x="12529" y="2475"/>
                </a:lnTo>
                <a:lnTo>
                  <a:pt x="12241" y="1974"/>
                </a:lnTo>
                <a:lnTo>
                  <a:pt x="11923" y="2249"/>
                </a:lnTo>
                <a:cubicBezTo>
                  <a:pt x="11866" y="2228"/>
                  <a:pt x="11809" y="2207"/>
                  <a:pt x="11751" y="2186"/>
                </a:cubicBezTo>
                <a:close/>
                <a:moveTo>
                  <a:pt x="6466" y="2721"/>
                </a:moveTo>
                <a:lnTo>
                  <a:pt x="6466" y="2721"/>
                </a:lnTo>
                <a:lnTo>
                  <a:pt x="6466" y="1701"/>
                </a:lnTo>
                <a:cubicBezTo>
                  <a:pt x="6518" y="1680"/>
                  <a:pt x="6571" y="1660"/>
                  <a:pt x="6622" y="1639"/>
                </a:cubicBezTo>
                <a:lnTo>
                  <a:pt x="6622" y="2664"/>
                </a:lnTo>
                <a:cubicBezTo>
                  <a:pt x="6571" y="2683"/>
                  <a:pt x="6519" y="2702"/>
                  <a:pt x="6466" y="2721"/>
                </a:cubicBezTo>
                <a:close/>
                <a:moveTo>
                  <a:pt x="5804" y="2360"/>
                </a:moveTo>
                <a:lnTo>
                  <a:pt x="5804" y="2360"/>
                </a:lnTo>
                <a:cubicBezTo>
                  <a:pt x="5714" y="2381"/>
                  <a:pt x="5625" y="2400"/>
                  <a:pt x="5536" y="2418"/>
                </a:cubicBezTo>
                <a:lnTo>
                  <a:pt x="5536" y="2167"/>
                </a:lnTo>
                <a:cubicBezTo>
                  <a:pt x="5628" y="2146"/>
                  <a:pt x="5720" y="2124"/>
                  <a:pt x="5813" y="2099"/>
                </a:cubicBezTo>
                <a:cubicBezTo>
                  <a:pt x="5972" y="2056"/>
                  <a:pt x="6031" y="2049"/>
                  <a:pt x="6031" y="2165"/>
                </a:cubicBezTo>
                <a:cubicBezTo>
                  <a:pt x="6031" y="2216"/>
                  <a:pt x="5968" y="2316"/>
                  <a:pt x="5804" y="2360"/>
                </a:cubicBezTo>
                <a:close/>
                <a:moveTo>
                  <a:pt x="6212" y="2104"/>
                </a:moveTo>
                <a:lnTo>
                  <a:pt x="6212" y="2104"/>
                </a:lnTo>
                <a:cubicBezTo>
                  <a:pt x="6212" y="1919"/>
                  <a:pt x="6085" y="1866"/>
                  <a:pt x="5815" y="1939"/>
                </a:cubicBezTo>
                <a:cubicBezTo>
                  <a:pt x="5617" y="1991"/>
                  <a:pt x="5470" y="2020"/>
                  <a:pt x="5368" y="2043"/>
                </a:cubicBezTo>
                <a:lnTo>
                  <a:pt x="5368" y="3025"/>
                </a:lnTo>
                <a:cubicBezTo>
                  <a:pt x="5425" y="3014"/>
                  <a:pt x="5481" y="3002"/>
                  <a:pt x="5536" y="2990"/>
                </a:cubicBezTo>
                <a:lnTo>
                  <a:pt x="5536" y="2582"/>
                </a:lnTo>
                <a:cubicBezTo>
                  <a:pt x="5623" y="2563"/>
                  <a:pt x="5710" y="2542"/>
                  <a:pt x="5798" y="2520"/>
                </a:cubicBezTo>
                <a:cubicBezTo>
                  <a:pt x="5899" y="2631"/>
                  <a:pt x="6000" y="2739"/>
                  <a:pt x="6101" y="2843"/>
                </a:cubicBezTo>
                <a:cubicBezTo>
                  <a:pt x="6161" y="2824"/>
                  <a:pt x="6221" y="2805"/>
                  <a:pt x="6279" y="2786"/>
                </a:cubicBezTo>
                <a:cubicBezTo>
                  <a:pt x="6176" y="2679"/>
                  <a:pt x="6073" y="2569"/>
                  <a:pt x="5970" y="2455"/>
                </a:cubicBezTo>
                <a:cubicBezTo>
                  <a:pt x="6082" y="2396"/>
                  <a:pt x="6212" y="2287"/>
                  <a:pt x="6212" y="2104"/>
                </a:cubicBezTo>
                <a:close/>
                <a:moveTo>
                  <a:pt x="4451" y="2341"/>
                </a:moveTo>
                <a:lnTo>
                  <a:pt x="4451" y="2341"/>
                </a:lnTo>
                <a:lnTo>
                  <a:pt x="4451" y="2582"/>
                </a:lnTo>
                <a:cubicBezTo>
                  <a:pt x="4632" y="2569"/>
                  <a:pt x="4813" y="2549"/>
                  <a:pt x="4993" y="2521"/>
                </a:cubicBezTo>
                <a:lnTo>
                  <a:pt x="4993" y="2682"/>
                </a:lnTo>
                <a:cubicBezTo>
                  <a:pt x="4813" y="2709"/>
                  <a:pt x="4632" y="2729"/>
                  <a:pt x="4451" y="2742"/>
                </a:cubicBezTo>
                <a:lnTo>
                  <a:pt x="4451" y="2976"/>
                </a:lnTo>
                <a:cubicBezTo>
                  <a:pt x="4671" y="2965"/>
                  <a:pt x="4892" y="2943"/>
                  <a:pt x="5112" y="2911"/>
                </a:cubicBezTo>
                <a:cubicBezTo>
                  <a:pt x="5111" y="2963"/>
                  <a:pt x="5110" y="3016"/>
                  <a:pt x="5109" y="3068"/>
                </a:cubicBezTo>
                <a:cubicBezTo>
                  <a:pt x="4857" y="3107"/>
                  <a:pt x="4584" y="3133"/>
                  <a:pt x="4285" y="3146"/>
                </a:cubicBezTo>
                <a:lnTo>
                  <a:pt x="4285" y="2187"/>
                </a:lnTo>
                <a:cubicBezTo>
                  <a:pt x="4572" y="2172"/>
                  <a:pt x="4836" y="2142"/>
                  <a:pt x="5080" y="2100"/>
                </a:cubicBezTo>
                <a:cubicBezTo>
                  <a:pt x="5081" y="2156"/>
                  <a:pt x="5082" y="2211"/>
                  <a:pt x="5083" y="2267"/>
                </a:cubicBezTo>
                <a:cubicBezTo>
                  <a:pt x="4872" y="2302"/>
                  <a:pt x="4662" y="2327"/>
                  <a:pt x="4451" y="2341"/>
                </a:cubicBezTo>
                <a:close/>
                <a:moveTo>
                  <a:pt x="2248" y="2518"/>
                </a:moveTo>
                <a:lnTo>
                  <a:pt x="2248" y="2518"/>
                </a:lnTo>
                <a:cubicBezTo>
                  <a:pt x="2125" y="2475"/>
                  <a:pt x="2002" y="2428"/>
                  <a:pt x="1879" y="2375"/>
                </a:cubicBezTo>
                <a:cubicBezTo>
                  <a:pt x="1961" y="2193"/>
                  <a:pt x="2043" y="2012"/>
                  <a:pt x="2054" y="1984"/>
                </a:cubicBezTo>
                <a:lnTo>
                  <a:pt x="2248" y="2518"/>
                </a:lnTo>
                <a:close/>
                <a:moveTo>
                  <a:pt x="1562" y="2684"/>
                </a:moveTo>
                <a:lnTo>
                  <a:pt x="1562" y="2684"/>
                </a:lnTo>
                <a:cubicBezTo>
                  <a:pt x="1611" y="2705"/>
                  <a:pt x="1662" y="2724"/>
                  <a:pt x="1713" y="2744"/>
                </a:cubicBezTo>
                <a:cubicBezTo>
                  <a:pt x="1733" y="2699"/>
                  <a:pt x="1772" y="2612"/>
                  <a:pt x="1817" y="2513"/>
                </a:cubicBezTo>
                <a:cubicBezTo>
                  <a:pt x="1982" y="2582"/>
                  <a:pt x="2148" y="2643"/>
                  <a:pt x="2313" y="2695"/>
                </a:cubicBezTo>
                <a:lnTo>
                  <a:pt x="2412" y="2969"/>
                </a:lnTo>
                <a:cubicBezTo>
                  <a:pt x="2475" y="2985"/>
                  <a:pt x="2538" y="3000"/>
                  <a:pt x="2601" y="3014"/>
                </a:cubicBezTo>
                <a:lnTo>
                  <a:pt x="2201" y="1906"/>
                </a:lnTo>
                <a:cubicBezTo>
                  <a:pt x="2120" y="1877"/>
                  <a:pt x="2041" y="1846"/>
                  <a:pt x="1962" y="1813"/>
                </a:cubicBezTo>
                <a:lnTo>
                  <a:pt x="1562" y="2684"/>
                </a:lnTo>
                <a:close/>
                <a:moveTo>
                  <a:pt x="15998" y="2936"/>
                </a:moveTo>
                <a:lnTo>
                  <a:pt x="15998" y="2936"/>
                </a:lnTo>
                <a:lnTo>
                  <a:pt x="16193" y="2913"/>
                </a:lnTo>
                <a:cubicBezTo>
                  <a:pt x="16239" y="2981"/>
                  <a:pt x="16333" y="2999"/>
                  <a:pt x="16415" y="2993"/>
                </a:cubicBezTo>
                <a:lnTo>
                  <a:pt x="16415" y="3143"/>
                </a:lnTo>
                <a:cubicBezTo>
                  <a:pt x="16214" y="3162"/>
                  <a:pt x="16047" y="3083"/>
                  <a:pt x="15998" y="2936"/>
                </a:cubicBezTo>
                <a:close/>
                <a:moveTo>
                  <a:pt x="15705" y="1730"/>
                </a:moveTo>
                <a:lnTo>
                  <a:pt x="15705" y="1730"/>
                </a:lnTo>
                <a:cubicBezTo>
                  <a:pt x="15952" y="1730"/>
                  <a:pt x="16188" y="1712"/>
                  <a:pt x="16415" y="1677"/>
                </a:cubicBezTo>
                <a:lnTo>
                  <a:pt x="16415" y="1837"/>
                </a:lnTo>
                <a:cubicBezTo>
                  <a:pt x="16182" y="1873"/>
                  <a:pt x="15945" y="1891"/>
                  <a:pt x="15705" y="1891"/>
                </a:cubicBezTo>
                <a:cubicBezTo>
                  <a:pt x="13054" y="1891"/>
                  <a:pt x="12520" y="567"/>
                  <a:pt x="9796" y="567"/>
                </a:cubicBezTo>
                <a:cubicBezTo>
                  <a:pt x="7072" y="567"/>
                  <a:pt x="6537" y="1891"/>
                  <a:pt x="3887" y="1891"/>
                </a:cubicBezTo>
                <a:cubicBezTo>
                  <a:pt x="3026" y="1891"/>
                  <a:pt x="2197" y="1662"/>
                  <a:pt x="1484" y="1228"/>
                </a:cubicBezTo>
                <a:lnTo>
                  <a:pt x="837" y="2669"/>
                </a:lnTo>
                <a:cubicBezTo>
                  <a:pt x="1756" y="3188"/>
                  <a:pt x="2809" y="3462"/>
                  <a:pt x="3887" y="3462"/>
                </a:cubicBezTo>
                <a:cubicBezTo>
                  <a:pt x="6867" y="3462"/>
                  <a:pt x="7544" y="2138"/>
                  <a:pt x="9796" y="2138"/>
                </a:cubicBezTo>
                <a:cubicBezTo>
                  <a:pt x="12046" y="2138"/>
                  <a:pt x="12725" y="3462"/>
                  <a:pt x="15705" y="3462"/>
                </a:cubicBezTo>
                <a:cubicBezTo>
                  <a:pt x="15943" y="3462"/>
                  <a:pt x="16181" y="3449"/>
                  <a:pt x="16415" y="3422"/>
                </a:cubicBezTo>
                <a:lnTo>
                  <a:pt x="16415" y="3585"/>
                </a:lnTo>
                <a:cubicBezTo>
                  <a:pt x="16181" y="3610"/>
                  <a:pt x="15945" y="3623"/>
                  <a:pt x="15705" y="3623"/>
                </a:cubicBezTo>
                <a:cubicBezTo>
                  <a:pt x="12701" y="3623"/>
                  <a:pt x="11992" y="2299"/>
                  <a:pt x="9796" y="2299"/>
                </a:cubicBezTo>
                <a:cubicBezTo>
                  <a:pt x="7599" y="2299"/>
                  <a:pt x="6891" y="3623"/>
                  <a:pt x="3887" y="3623"/>
                </a:cubicBezTo>
                <a:cubicBezTo>
                  <a:pt x="2737" y="3623"/>
                  <a:pt x="1658" y="3332"/>
                  <a:pt x="631" y="2735"/>
                </a:cubicBezTo>
                <a:lnTo>
                  <a:pt x="1413" y="993"/>
                </a:lnTo>
                <a:cubicBezTo>
                  <a:pt x="2150" y="1463"/>
                  <a:pt x="2940" y="1730"/>
                  <a:pt x="3887" y="1730"/>
                </a:cubicBezTo>
                <a:cubicBezTo>
                  <a:pt x="6501" y="1730"/>
                  <a:pt x="7026" y="406"/>
                  <a:pt x="9796" y="406"/>
                </a:cubicBezTo>
                <a:cubicBezTo>
                  <a:pt x="12565" y="406"/>
                  <a:pt x="13091" y="1730"/>
                  <a:pt x="15705" y="1730"/>
                </a:cubicBezTo>
                <a:close/>
                <a:moveTo>
                  <a:pt x="13550" y="2146"/>
                </a:moveTo>
                <a:lnTo>
                  <a:pt x="13550" y="2146"/>
                </a:lnTo>
                <a:cubicBezTo>
                  <a:pt x="13550" y="2288"/>
                  <a:pt x="13439" y="2270"/>
                  <a:pt x="13270" y="2214"/>
                </a:cubicBezTo>
                <a:lnTo>
                  <a:pt x="13082" y="2155"/>
                </a:lnTo>
                <a:lnTo>
                  <a:pt x="13082" y="1861"/>
                </a:lnTo>
                <a:lnTo>
                  <a:pt x="13270" y="1920"/>
                </a:lnTo>
                <a:cubicBezTo>
                  <a:pt x="13443" y="1977"/>
                  <a:pt x="13550" y="2031"/>
                  <a:pt x="13550" y="2146"/>
                </a:cubicBezTo>
                <a:close/>
                <a:moveTo>
                  <a:pt x="12918" y="1640"/>
                </a:moveTo>
                <a:lnTo>
                  <a:pt x="12918" y="1640"/>
                </a:lnTo>
                <a:lnTo>
                  <a:pt x="12918" y="2639"/>
                </a:lnTo>
                <a:lnTo>
                  <a:pt x="13082" y="2701"/>
                </a:lnTo>
                <a:lnTo>
                  <a:pt x="13082" y="2310"/>
                </a:lnTo>
                <a:lnTo>
                  <a:pt x="13285" y="2375"/>
                </a:lnTo>
                <a:cubicBezTo>
                  <a:pt x="13582" y="2473"/>
                  <a:pt x="13714" y="2326"/>
                  <a:pt x="13714" y="2174"/>
                </a:cubicBezTo>
                <a:cubicBezTo>
                  <a:pt x="13714" y="2003"/>
                  <a:pt x="13620" y="1896"/>
                  <a:pt x="13414" y="1808"/>
                </a:cubicBezTo>
                <a:cubicBezTo>
                  <a:pt x="13356" y="1785"/>
                  <a:pt x="13252" y="1744"/>
                  <a:pt x="12918" y="1640"/>
                </a:cubicBezTo>
                <a:close/>
                <a:moveTo>
                  <a:pt x="16415" y="2110"/>
                </a:moveTo>
                <a:lnTo>
                  <a:pt x="16415" y="2110"/>
                </a:lnTo>
                <a:lnTo>
                  <a:pt x="16415" y="2253"/>
                </a:lnTo>
                <a:cubicBezTo>
                  <a:pt x="16278" y="2269"/>
                  <a:pt x="16193" y="2332"/>
                  <a:pt x="16193" y="2417"/>
                </a:cubicBezTo>
                <a:cubicBezTo>
                  <a:pt x="16193" y="2507"/>
                  <a:pt x="16292" y="2525"/>
                  <a:pt x="16415" y="2535"/>
                </a:cubicBezTo>
                <a:lnTo>
                  <a:pt x="16415" y="2691"/>
                </a:lnTo>
                <a:cubicBezTo>
                  <a:pt x="16410" y="2691"/>
                  <a:pt x="16404" y="2690"/>
                  <a:pt x="16398" y="2690"/>
                </a:cubicBezTo>
                <a:cubicBezTo>
                  <a:pt x="16285" y="2683"/>
                  <a:pt x="16003" y="2673"/>
                  <a:pt x="16003" y="2432"/>
                </a:cubicBezTo>
                <a:cubicBezTo>
                  <a:pt x="16003" y="2265"/>
                  <a:pt x="16165" y="2139"/>
                  <a:pt x="16415" y="2110"/>
                </a:cubicBezTo>
                <a:close/>
                <a:moveTo>
                  <a:pt x="16415" y="3995"/>
                </a:moveTo>
                <a:lnTo>
                  <a:pt x="16415" y="3995"/>
                </a:lnTo>
                <a:cubicBezTo>
                  <a:pt x="16181" y="4018"/>
                  <a:pt x="15944" y="4030"/>
                  <a:pt x="15705" y="4031"/>
                </a:cubicBezTo>
                <a:cubicBezTo>
                  <a:pt x="12676" y="4031"/>
                  <a:pt x="11815" y="2706"/>
                  <a:pt x="9796" y="2706"/>
                </a:cubicBezTo>
                <a:cubicBezTo>
                  <a:pt x="7775" y="2706"/>
                  <a:pt x="6915" y="4031"/>
                  <a:pt x="3887" y="4031"/>
                </a:cubicBezTo>
                <a:cubicBezTo>
                  <a:pt x="2504" y="4030"/>
                  <a:pt x="1193" y="3637"/>
                  <a:pt x="0" y="2810"/>
                </a:cubicBezTo>
                <a:lnTo>
                  <a:pt x="1076" y="194"/>
                </a:lnTo>
                <a:cubicBezTo>
                  <a:pt x="1895" y="963"/>
                  <a:pt x="2828" y="1323"/>
                  <a:pt x="3887" y="1323"/>
                </a:cubicBezTo>
                <a:cubicBezTo>
                  <a:pt x="6394" y="1323"/>
                  <a:pt x="6922" y="0"/>
                  <a:pt x="9796" y="0"/>
                </a:cubicBezTo>
                <a:cubicBezTo>
                  <a:pt x="12669" y="0"/>
                  <a:pt x="13197" y="1323"/>
                  <a:pt x="15705" y="1323"/>
                </a:cubicBezTo>
                <a:cubicBezTo>
                  <a:pt x="15948" y="1323"/>
                  <a:pt x="16185" y="1304"/>
                  <a:pt x="16415" y="1265"/>
                </a:cubicBezTo>
                <a:lnTo>
                  <a:pt x="16415" y="1426"/>
                </a:lnTo>
                <a:cubicBezTo>
                  <a:pt x="16183" y="1464"/>
                  <a:pt x="15946" y="1484"/>
                  <a:pt x="15705" y="1484"/>
                </a:cubicBezTo>
                <a:cubicBezTo>
                  <a:pt x="13151" y="1484"/>
                  <a:pt x="12632" y="159"/>
                  <a:pt x="9796" y="159"/>
                </a:cubicBezTo>
                <a:cubicBezTo>
                  <a:pt x="6959" y="159"/>
                  <a:pt x="6441" y="1484"/>
                  <a:pt x="3887" y="1484"/>
                </a:cubicBezTo>
                <a:cubicBezTo>
                  <a:pt x="2849" y="1484"/>
                  <a:pt x="1877" y="1124"/>
                  <a:pt x="1137" y="468"/>
                </a:cubicBezTo>
                <a:lnTo>
                  <a:pt x="197" y="2751"/>
                </a:lnTo>
                <a:cubicBezTo>
                  <a:pt x="1277" y="3483"/>
                  <a:pt x="2552" y="3870"/>
                  <a:pt x="3887" y="3870"/>
                </a:cubicBezTo>
                <a:cubicBezTo>
                  <a:pt x="6879" y="3870"/>
                  <a:pt x="7731" y="2545"/>
                  <a:pt x="9796" y="2545"/>
                </a:cubicBezTo>
                <a:cubicBezTo>
                  <a:pt x="11861" y="2545"/>
                  <a:pt x="12712" y="3870"/>
                  <a:pt x="15705" y="3870"/>
                </a:cubicBezTo>
                <a:cubicBezTo>
                  <a:pt x="15944" y="3870"/>
                  <a:pt x="16181" y="3857"/>
                  <a:pt x="16415" y="3833"/>
                </a:cubicBezTo>
                <a:lnTo>
                  <a:pt x="16415" y="3995"/>
                </a:lnTo>
                <a:close/>
                <a:moveTo>
                  <a:pt x="15166" y="2346"/>
                </a:moveTo>
                <a:lnTo>
                  <a:pt x="15166" y="2346"/>
                </a:lnTo>
                <a:lnTo>
                  <a:pt x="15166" y="2576"/>
                </a:lnTo>
                <a:cubicBezTo>
                  <a:pt x="15343" y="2590"/>
                  <a:pt x="15521" y="2597"/>
                  <a:pt x="15696" y="2597"/>
                </a:cubicBezTo>
                <a:lnTo>
                  <a:pt x="15696" y="2753"/>
                </a:lnTo>
                <a:cubicBezTo>
                  <a:pt x="15514" y="2753"/>
                  <a:pt x="15338" y="2746"/>
                  <a:pt x="15166" y="2732"/>
                </a:cubicBezTo>
                <a:lnTo>
                  <a:pt x="15166" y="2977"/>
                </a:lnTo>
                <a:cubicBezTo>
                  <a:pt x="15380" y="2995"/>
                  <a:pt x="15598" y="3002"/>
                  <a:pt x="15812" y="2998"/>
                </a:cubicBezTo>
                <a:cubicBezTo>
                  <a:pt x="15812" y="3010"/>
                  <a:pt x="15810" y="3140"/>
                  <a:pt x="15810" y="3152"/>
                </a:cubicBezTo>
                <a:cubicBezTo>
                  <a:pt x="15541" y="3157"/>
                  <a:pt x="15309" y="3152"/>
                  <a:pt x="15000" y="3127"/>
                </a:cubicBezTo>
                <a:lnTo>
                  <a:pt x="15000" y="2165"/>
                </a:lnTo>
                <a:cubicBezTo>
                  <a:pt x="15248" y="2189"/>
                  <a:pt x="15489" y="2200"/>
                  <a:pt x="15781" y="2196"/>
                </a:cubicBezTo>
                <a:cubicBezTo>
                  <a:pt x="15783" y="2308"/>
                  <a:pt x="15783" y="2332"/>
                  <a:pt x="15784" y="2359"/>
                </a:cubicBezTo>
                <a:cubicBezTo>
                  <a:pt x="15578" y="2363"/>
                  <a:pt x="15390" y="2361"/>
                  <a:pt x="15166" y="2346"/>
                </a:cubicBezTo>
                <a:close/>
                <a:moveTo>
                  <a:pt x="14324" y="2477"/>
                </a:moveTo>
                <a:lnTo>
                  <a:pt x="14324" y="2477"/>
                </a:lnTo>
                <a:lnTo>
                  <a:pt x="14065" y="2421"/>
                </a:lnTo>
                <a:lnTo>
                  <a:pt x="14065" y="2180"/>
                </a:lnTo>
                <a:lnTo>
                  <a:pt x="14315" y="2230"/>
                </a:lnTo>
                <a:cubicBezTo>
                  <a:pt x="14477" y="2261"/>
                  <a:pt x="14554" y="2281"/>
                  <a:pt x="14554" y="2389"/>
                </a:cubicBezTo>
                <a:cubicBezTo>
                  <a:pt x="14554" y="2504"/>
                  <a:pt x="14441" y="2499"/>
                  <a:pt x="14324" y="2477"/>
                </a:cubicBezTo>
                <a:close/>
                <a:moveTo>
                  <a:pt x="14727" y="2415"/>
                </a:moveTo>
                <a:lnTo>
                  <a:pt x="14727" y="2415"/>
                </a:lnTo>
                <a:cubicBezTo>
                  <a:pt x="14727" y="2230"/>
                  <a:pt x="14602" y="2120"/>
                  <a:pt x="14335" y="2069"/>
                </a:cubicBezTo>
                <a:cubicBezTo>
                  <a:pt x="14335" y="2069"/>
                  <a:pt x="14087" y="2014"/>
                  <a:pt x="13898" y="1961"/>
                </a:cubicBezTo>
                <a:lnTo>
                  <a:pt x="13898" y="2953"/>
                </a:lnTo>
                <a:cubicBezTo>
                  <a:pt x="13953" y="2966"/>
                  <a:pt x="14009" y="2979"/>
                  <a:pt x="14065" y="2991"/>
                </a:cubicBezTo>
                <a:lnTo>
                  <a:pt x="14065" y="2587"/>
                </a:lnTo>
                <a:lnTo>
                  <a:pt x="14279" y="2628"/>
                </a:lnTo>
                <a:lnTo>
                  <a:pt x="14546" y="3077"/>
                </a:lnTo>
                <a:cubicBezTo>
                  <a:pt x="14616" y="3087"/>
                  <a:pt x="14687" y="3096"/>
                  <a:pt x="14760" y="3104"/>
                </a:cubicBezTo>
                <a:lnTo>
                  <a:pt x="14485" y="2642"/>
                </a:lnTo>
                <a:cubicBezTo>
                  <a:pt x="14627" y="2629"/>
                  <a:pt x="14727" y="2561"/>
                  <a:pt x="14727" y="2415"/>
                </a:cubicBezTo>
                <a:close/>
              </a:path>
            </a:pathLst>
          </a:custGeom>
          <a:solidFill>
            <a:srgbClr val="006FC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 name="Title 1">
            <a:extLst>
              <a:ext uri="{FF2B5EF4-FFF2-40B4-BE49-F238E27FC236}">
                <a16:creationId xmlns:a16="http://schemas.microsoft.com/office/drawing/2014/main" id="{F9AC90E9-8548-4F44-A404-4532EB3B482D}"/>
              </a:ext>
            </a:extLst>
          </p:cNvPr>
          <p:cNvSpPr>
            <a:spLocks noGrp="1"/>
          </p:cNvSpPr>
          <p:nvPr>
            <p:ph type="title" hasCustomPrompt="1"/>
          </p:nvPr>
        </p:nvSpPr>
        <p:spPr>
          <a:xfrm>
            <a:off x="609601" y="546101"/>
            <a:ext cx="9266767" cy="2255519"/>
          </a:xfrm>
        </p:spPr>
        <p:txBody>
          <a:bodyPr anchor="b" anchorCtr="0"/>
          <a:lstStyle>
            <a:lvl1pPr>
              <a:defRPr sz="4267" spc="-80" baseline="0">
                <a:solidFill>
                  <a:schemeClr val="bg1"/>
                </a:solidFill>
              </a:defRPr>
            </a:lvl1pPr>
          </a:lstStyle>
          <a:p>
            <a:r>
              <a:rPr lang="en-US"/>
              <a:t>Section header title</a:t>
            </a:r>
          </a:p>
        </p:txBody>
      </p:sp>
      <p:sp>
        <p:nvSpPr>
          <p:cNvPr id="3" name="Text Placeholder 2">
            <a:extLst>
              <a:ext uri="{FF2B5EF4-FFF2-40B4-BE49-F238E27FC236}">
                <a16:creationId xmlns:a16="http://schemas.microsoft.com/office/drawing/2014/main" id="{0E07319C-9A3D-6A49-8F17-E79484E38275}"/>
              </a:ext>
            </a:extLst>
          </p:cNvPr>
          <p:cNvSpPr>
            <a:spLocks noGrp="1"/>
          </p:cNvSpPr>
          <p:nvPr>
            <p:ph type="body" idx="1" hasCustomPrompt="1"/>
          </p:nvPr>
        </p:nvSpPr>
        <p:spPr>
          <a:xfrm>
            <a:off x="609601" y="2987041"/>
            <a:ext cx="5304367" cy="608356"/>
          </a:xfrm>
        </p:spPr>
        <p:txBody>
          <a:bodyPr>
            <a:noAutofit/>
          </a:bodyPr>
          <a:lstStyle>
            <a:lvl1pPr marL="0" indent="0">
              <a:spcBef>
                <a:spcPts val="0"/>
              </a:spcBef>
              <a:buNone/>
              <a:defRPr sz="1333" cap="none" baseline="0">
                <a:solidFill>
                  <a:schemeClr val="bg2"/>
                </a:solidFill>
              </a:defRPr>
            </a:lvl1pPr>
            <a:lvl2pPr marL="0" indent="0">
              <a:spcBef>
                <a:spcPts val="0"/>
              </a:spcBef>
              <a:buNone/>
              <a:defRPr sz="1333" cap="all" baseline="0">
                <a:solidFill>
                  <a:schemeClr val="bg2"/>
                </a:solidFill>
              </a:defRPr>
            </a:lvl2pPr>
            <a:lvl3pPr marL="0" indent="0">
              <a:spcBef>
                <a:spcPts val="0"/>
              </a:spcBef>
              <a:buNone/>
              <a:defRPr sz="1333" cap="all" baseline="0">
                <a:solidFill>
                  <a:schemeClr val="bg2"/>
                </a:solidFill>
              </a:defRPr>
            </a:lvl3pPr>
            <a:lvl4pPr marL="0" indent="0">
              <a:spcBef>
                <a:spcPts val="0"/>
              </a:spcBef>
              <a:buNone/>
              <a:defRPr sz="1333" cap="all" baseline="0">
                <a:solidFill>
                  <a:schemeClr val="bg2"/>
                </a:solidFill>
              </a:defRPr>
            </a:lvl4pPr>
            <a:lvl5pPr marL="0" indent="0">
              <a:spcBef>
                <a:spcPts val="0"/>
              </a:spcBef>
              <a:buNone/>
              <a:defRPr sz="1333" cap="all" baseline="0">
                <a:solidFill>
                  <a:schemeClr val="bg2"/>
                </a:solidFill>
              </a:defRPr>
            </a:lvl5pPr>
            <a:lvl6pPr marL="0" indent="0">
              <a:spcBef>
                <a:spcPts val="0"/>
              </a:spcBef>
              <a:buNone/>
              <a:defRPr sz="1333" cap="all" baseline="0">
                <a:solidFill>
                  <a:schemeClr val="bg2"/>
                </a:solidFill>
              </a:defRPr>
            </a:lvl6pPr>
            <a:lvl7pPr marL="0" indent="0">
              <a:spcBef>
                <a:spcPts val="0"/>
              </a:spcBef>
              <a:buNone/>
              <a:defRPr sz="1333" cap="all" baseline="0">
                <a:solidFill>
                  <a:schemeClr val="bg2"/>
                </a:solidFill>
              </a:defRPr>
            </a:lvl7pPr>
            <a:lvl8pPr marL="0" indent="0">
              <a:spcBef>
                <a:spcPts val="0"/>
              </a:spcBef>
              <a:buNone/>
              <a:defRPr sz="1333" cap="all" baseline="0">
                <a:solidFill>
                  <a:schemeClr val="bg2"/>
                </a:solidFill>
              </a:defRPr>
            </a:lvl8pPr>
            <a:lvl9pPr marL="0" indent="0">
              <a:spcBef>
                <a:spcPts val="0"/>
              </a:spcBef>
              <a:buNone/>
              <a:defRPr sz="1333" cap="all" baseline="0">
                <a:solidFill>
                  <a:schemeClr val="bg2"/>
                </a:solidFill>
              </a:defRPr>
            </a:lvl9pPr>
          </a:lstStyle>
          <a:p>
            <a:pPr lvl="0"/>
            <a:r>
              <a:rPr lang="en-US"/>
              <a:t>Optional subtitle</a:t>
            </a:r>
          </a:p>
        </p:txBody>
      </p:sp>
    </p:spTree>
    <p:extLst>
      <p:ext uri="{BB962C8B-B14F-4D97-AF65-F5344CB8AC3E}">
        <p14:creationId xmlns:p14="http://schemas.microsoft.com/office/powerpoint/2010/main" val="241001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02 White">
    <p:spTree>
      <p:nvGrpSpPr>
        <p:cNvPr id="1" name=""/>
        <p:cNvGrpSpPr/>
        <p:nvPr/>
      </p:nvGrpSpPr>
      <p:grpSpPr>
        <a:xfrm>
          <a:off x="0" y="0"/>
          <a:ext cx="0" cy="0"/>
          <a:chOff x="0" y="0"/>
          <a:chExt cx="0" cy="0"/>
        </a:xfrm>
      </p:grpSpPr>
      <p:sp>
        <p:nvSpPr>
          <p:cNvPr id="7" name="Freeform 5"/>
          <p:cNvSpPr>
            <a:spLocks noEditPoints="1"/>
          </p:cNvSpPr>
          <p:nvPr userDrawn="1"/>
        </p:nvSpPr>
        <p:spPr bwMode="hidden">
          <a:xfrm>
            <a:off x="3274483" y="2089149"/>
            <a:ext cx="8917517" cy="4768851"/>
          </a:xfrm>
          <a:custGeom>
            <a:avLst/>
            <a:gdLst>
              <a:gd name="T0" fmla="*/ 8637 w 14020"/>
              <a:gd name="T1" fmla="*/ 1280 h 7492"/>
              <a:gd name="T2" fmla="*/ 8503 w 14020"/>
              <a:gd name="T3" fmla="*/ 4342 h 7492"/>
              <a:gd name="T4" fmla="*/ 10437 w 14020"/>
              <a:gd name="T5" fmla="*/ 7492 h 7492"/>
              <a:gd name="T6" fmla="*/ 7332 w 14020"/>
              <a:gd name="T7" fmla="*/ 6003 h 7492"/>
              <a:gd name="T8" fmla="*/ 9570 w 14020"/>
              <a:gd name="T9" fmla="*/ 6003 h 7492"/>
              <a:gd name="T10" fmla="*/ 9570 w 14020"/>
              <a:gd name="T11" fmla="*/ 6003 h 7492"/>
              <a:gd name="T12" fmla="*/ 11060 w 14020"/>
              <a:gd name="T13" fmla="*/ 4342 h 7492"/>
              <a:gd name="T14" fmla="*/ 10697 w 14020"/>
              <a:gd name="T15" fmla="*/ 5671 h 7492"/>
              <a:gd name="T16" fmla="*/ 10511 w 14020"/>
              <a:gd name="T17" fmla="*/ 4676 h 7492"/>
              <a:gd name="T18" fmla="*/ 12601 w 14020"/>
              <a:gd name="T19" fmla="*/ 5515 h 7492"/>
              <a:gd name="T20" fmla="*/ 12605 w 14020"/>
              <a:gd name="T21" fmla="*/ 4657 h 7492"/>
              <a:gd name="T22" fmla="*/ 12139 w 14020"/>
              <a:gd name="T23" fmla="*/ 6003 h 7492"/>
              <a:gd name="T24" fmla="*/ 14020 w 14020"/>
              <a:gd name="T25" fmla="*/ 5486 h 7492"/>
              <a:gd name="T26" fmla="*/ 13558 w 14020"/>
              <a:gd name="T27" fmla="*/ 5072 h 7492"/>
              <a:gd name="T28" fmla="*/ 13344 w 14020"/>
              <a:gd name="T29" fmla="*/ 5671 h 7492"/>
              <a:gd name="T30" fmla="*/ 7227 w 14020"/>
              <a:gd name="T31" fmla="*/ 0 h 7492"/>
              <a:gd name="T32" fmla="*/ 12347 w 14020"/>
              <a:gd name="T33" fmla="*/ 4342 h 7492"/>
              <a:gd name="T34" fmla="*/ 2813 w 14020"/>
              <a:gd name="T35" fmla="*/ 7492 h 7492"/>
              <a:gd name="T36" fmla="*/ 11619 w 14020"/>
              <a:gd name="T37" fmla="*/ 5671 h 7492"/>
              <a:gd name="T38" fmla="*/ 759 w 14020"/>
              <a:gd name="T39" fmla="*/ 4877 h 7492"/>
              <a:gd name="T40" fmla="*/ 1300 w 14020"/>
              <a:gd name="T41" fmla="*/ 4676 h 7492"/>
              <a:gd name="T42" fmla="*/ 454 w 14020"/>
              <a:gd name="T43" fmla="*/ 5449 h 7492"/>
              <a:gd name="T44" fmla="*/ 596 w 14020"/>
              <a:gd name="T45" fmla="*/ 5669 h 7492"/>
              <a:gd name="T46" fmla="*/ 2512 w 14020"/>
              <a:gd name="T47" fmla="*/ 5175 h 7492"/>
              <a:gd name="T48" fmla="*/ 2208 w 14020"/>
              <a:gd name="T49" fmla="*/ 5694 h 7492"/>
              <a:gd name="T50" fmla="*/ 9693 w 14020"/>
              <a:gd name="T51" fmla="*/ 4861 h 7492"/>
              <a:gd name="T52" fmla="*/ 9882 w 14020"/>
              <a:gd name="T53" fmla="*/ 5290 h 7492"/>
              <a:gd name="T54" fmla="*/ 9454 w 14020"/>
              <a:gd name="T55" fmla="*/ 5316 h 7492"/>
              <a:gd name="T56" fmla="*/ 10111 w 14020"/>
              <a:gd name="T57" fmla="*/ 4992 h 7492"/>
              <a:gd name="T58" fmla="*/ 5368 w 14020"/>
              <a:gd name="T59" fmla="*/ 1122 h 7492"/>
              <a:gd name="T60" fmla="*/ 4237 w 14020"/>
              <a:gd name="T61" fmla="*/ 5671 h 7492"/>
              <a:gd name="T62" fmla="*/ 4237 w 14020"/>
              <a:gd name="T63" fmla="*/ 4676 h 7492"/>
              <a:gd name="T64" fmla="*/ 3473 w 14020"/>
              <a:gd name="T65" fmla="*/ 4861 h 7492"/>
              <a:gd name="T66" fmla="*/ 3475 w 14020"/>
              <a:gd name="T67" fmla="*/ 4676 h 7492"/>
              <a:gd name="T68" fmla="*/ 3439 w 14020"/>
              <a:gd name="T69" fmla="*/ 5316 h 7492"/>
              <a:gd name="T70" fmla="*/ 4675 w 14020"/>
              <a:gd name="T71" fmla="*/ 4342 h 7492"/>
              <a:gd name="T72" fmla="*/ 4675 w 14020"/>
              <a:gd name="T73" fmla="*/ 4342 h 7492"/>
              <a:gd name="T74" fmla="*/ 5584 w 14020"/>
              <a:gd name="T75" fmla="*/ 5479 h 7492"/>
              <a:gd name="T76" fmla="*/ 6146 w 14020"/>
              <a:gd name="T77" fmla="*/ 5175 h 7492"/>
              <a:gd name="T78" fmla="*/ 5949 w 14020"/>
              <a:gd name="T79" fmla="*/ 6003 h 7492"/>
              <a:gd name="T80" fmla="*/ 5949 w 14020"/>
              <a:gd name="T81" fmla="*/ 6003 h 7492"/>
              <a:gd name="T82" fmla="*/ 6161 w 14020"/>
              <a:gd name="T83" fmla="*/ 4342 h 7492"/>
              <a:gd name="T84" fmla="*/ 3787 w 14020"/>
              <a:gd name="T85" fmla="*/ 7492 h 7492"/>
              <a:gd name="T86" fmla="*/ 7230 w 14020"/>
              <a:gd name="T87" fmla="*/ 5391 h 7492"/>
              <a:gd name="T88" fmla="*/ 7252 w 14020"/>
              <a:gd name="T89" fmla="*/ 4910 h 7492"/>
              <a:gd name="T90" fmla="*/ 7030 w 14020"/>
              <a:gd name="T91" fmla="*/ 4926 h 7492"/>
              <a:gd name="T92" fmla="*/ 7122 w 14020"/>
              <a:gd name="T93" fmla="*/ 1461 h 7492"/>
              <a:gd name="T94" fmla="*/ 8911 w 14020"/>
              <a:gd name="T95" fmla="*/ 4865 h 7492"/>
              <a:gd name="T96" fmla="*/ 8935 w 14020"/>
              <a:gd name="T97" fmla="*/ 5671 h 7492"/>
              <a:gd name="T98" fmla="*/ 8823 w 14020"/>
              <a:gd name="T99" fmla="*/ 5072 h 7492"/>
              <a:gd name="T100" fmla="*/ 8294 w 14020"/>
              <a:gd name="T101" fmla="*/ 6003 h 7492"/>
              <a:gd name="T102" fmla="*/ 4883 w 14020"/>
              <a:gd name="T103" fmla="*/ 6003 h 7492"/>
              <a:gd name="T104" fmla="*/ 4883 w 14020"/>
              <a:gd name="T105" fmla="*/ 6003 h 7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20" h="7492">
                <a:moveTo>
                  <a:pt x="8409" y="1337"/>
                </a:moveTo>
                <a:lnTo>
                  <a:pt x="8409" y="1337"/>
                </a:lnTo>
                <a:cubicBezTo>
                  <a:pt x="9112" y="2098"/>
                  <a:pt x="9460" y="3312"/>
                  <a:pt x="9567" y="4342"/>
                </a:cubicBezTo>
                <a:lnTo>
                  <a:pt x="9778" y="4342"/>
                </a:lnTo>
                <a:cubicBezTo>
                  <a:pt x="9647" y="3061"/>
                  <a:pt x="9224" y="1963"/>
                  <a:pt x="8637" y="1280"/>
                </a:cubicBezTo>
                <a:cubicBezTo>
                  <a:pt x="8563" y="1301"/>
                  <a:pt x="8487" y="1320"/>
                  <a:pt x="8409" y="1337"/>
                </a:cubicBezTo>
                <a:close/>
                <a:moveTo>
                  <a:pt x="7771" y="1438"/>
                </a:moveTo>
                <a:lnTo>
                  <a:pt x="7771" y="1438"/>
                </a:lnTo>
                <a:cubicBezTo>
                  <a:pt x="8104" y="2268"/>
                  <a:pt x="8246" y="3445"/>
                  <a:pt x="8292" y="4342"/>
                </a:cubicBezTo>
                <a:lnTo>
                  <a:pt x="8503" y="4342"/>
                </a:lnTo>
                <a:cubicBezTo>
                  <a:pt x="8441" y="3141"/>
                  <a:pt x="8251" y="2102"/>
                  <a:pt x="7986" y="1413"/>
                </a:cubicBezTo>
                <a:cubicBezTo>
                  <a:pt x="7915" y="1423"/>
                  <a:pt x="7844" y="1431"/>
                  <a:pt x="7771" y="1438"/>
                </a:cubicBezTo>
                <a:close/>
                <a:moveTo>
                  <a:pt x="10853" y="6003"/>
                </a:moveTo>
                <a:lnTo>
                  <a:pt x="10853" y="6003"/>
                </a:lnTo>
                <a:cubicBezTo>
                  <a:pt x="10780" y="6535"/>
                  <a:pt x="10637" y="7036"/>
                  <a:pt x="10437" y="7492"/>
                </a:cubicBezTo>
                <a:lnTo>
                  <a:pt x="10666" y="7492"/>
                </a:lnTo>
                <a:cubicBezTo>
                  <a:pt x="10858" y="7033"/>
                  <a:pt x="10995" y="6532"/>
                  <a:pt x="11064" y="6003"/>
                </a:cubicBezTo>
                <a:lnTo>
                  <a:pt x="10853" y="6003"/>
                </a:lnTo>
                <a:close/>
                <a:moveTo>
                  <a:pt x="7332" y="6003"/>
                </a:moveTo>
                <a:lnTo>
                  <a:pt x="7332" y="6003"/>
                </a:lnTo>
                <a:lnTo>
                  <a:pt x="7122" y="6003"/>
                </a:lnTo>
                <a:lnTo>
                  <a:pt x="7122" y="7492"/>
                </a:lnTo>
                <a:lnTo>
                  <a:pt x="7332" y="7492"/>
                </a:lnTo>
                <a:lnTo>
                  <a:pt x="7332" y="6003"/>
                </a:lnTo>
                <a:close/>
                <a:moveTo>
                  <a:pt x="9570" y="6003"/>
                </a:moveTo>
                <a:lnTo>
                  <a:pt x="9570" y="6003"/>
                </a:lnTo>
                <a:cubicBezTo>
                  <a:pt x="9522" y="6484"/>
                  <a:pt x="9423" y="7000"/>
                  <a:pt x="9262" y="7492"/>
                </a:cubicBezTo>
                <a:lnTo>
                  <a:pt x="9482" y="7492"/>
                </a:lnTo>
                <a:cubicBezTo>
                  <a:pt x="9626" y="7038"/>
                  <a:pt x="9729" y="6536"/>
                  <a:pt x="9781" y="6003"/>
                </a:cubicBezTo>
                <a:lnTo>
                  <a:pt x="9570" y="6003"/>
                </a:lnTo>
                <a:close/>
                <a:moveTo>
                  <a:pt x="9295" y="1019"/>
                </a:moveTo>
                <a:lnTo>
                  <a:pt x="9295" y="1019"/>
                </a:lnTo>
                <a:cubicBezTo>
                  <a:pt x="9230" y="1055"/>
                  <a:pt x="9159" y="1089"/>
                  <a:pt x="9085" y="1122"/>
                </a:cubicBezTo>
                <a:cubicBezTo>
                  <a:pt x="9993" y="1805"/>
                  <a:pt x="10653" y="2971"/>
                  <a:pt x="10848" y="4342"/>
                </a:cubicBezTo>
                <a:lnTo>
                  <a:pt x="11060" y="4342"/>
                </a:lnTo>
                <a:cubicBezTo>
                  <a:pt x="10868" y="2943"/>
                  <a:pt x="10210" y="1747"/>
                  <a:pt x="9295" y="1019"/>
                </a:cubicBezTo>
                <a:close/>
                <a:moveTo>
                  <a:pt x="10511" y="4676"/>
                </a:moveTo>
                <a:lnTo>
                  <a:pt x="10511" y="4676"/>
                </a:lnTo>
                <a:lnTo>
                  <a:pt x="10279" y="4676"/>
                </a:lnTo>
                <a:lnTo>
                  <a:pt x="10697" y="5671"/>
                </a:lnTo>
                <a:lnTo>
                  <a:pt x="10960" y="5671"/>
                </a:lnTo>
                <a:lnTo>
                  <a:pt x="11378" y="4676"/>
                </a:lnTo>
                <a:lnTo>
                  <a:pt x="11143" y="4676"/>
                </a:lnTo>
                <a:lnTo>
                  <a:pt x="10834" y="5443"/>
                </a:lnTo>
                <a:lnTo>
                  <a:pt x="10511" y="4676"/>
                </a:lnTo>
                <a:close/>
                <a:moveTo>
                  <a:pt x="12601" y="5694"/>
                </a:moveTo>
                <a:lnTo>
                  <a:pt x="12601" y="5694"/>
                </a:lnTo>
                <a:cubicBezTo>
                  <a:pt x="12843" y="5694"/>
                  <a:pt x="13029" y="5573"/>
                  <a:pt x="13054" y="5330"/>
                </a:cubicBezTo>
                <a:lnTo>
                  <a:pt x="12823" y="5330"/>
                </a:lnTo>
                <a:cubicBezTo>
                  <a:pt x="12804" y="5447"/>
                  <a:pt x="12724" y="5515"/>
                  <a:pt x="12601" y="5515"/>
                </a:cubicBezTo>
                <a:cubicBezTo>
                  <a:pt x="12420" y="5515"/>
                  <a:pt x="12346" y="5355"/>
                  <a:pt x="12346" y="5175"/>
                </a:cubicBezTo>
                <a:cubicBezTo>
                  <a:pt x="12346" y="4966"/>
                  <a:pt x="12445" y="4836"/>
                  <a:pt x="12605" y="4836"/>
                </a:cubicBezTo>
                <a:cubicBezTo>
                  <a:pt x="12715" y="4836"/>
                  <a:pt x="12789" y="4893"/>
                  <a:pt x="12814" y="4988"/>
                </a:cubicBezTo>
                <a:lnTo>
                  <a:pt x="13045" y="4988"/>
                </a:lnTo>
                <a:cubicBezTo>
                  <a:pt x="13018" y="4789"/>
                  <a:pt x="12847" y="4657"/>
                  <a:pt x="12605" y="4657"/>
                </a:cubicBezTo>
                <a:cubicBezTo>
                  <a:pt x="12310" y="4657"/>
                  <a:pt x="12133" y="4851"/>
                  <a:pt x="12133" y="5175"/>
                </a:cubicBezTo>
                <a:cubicBezTo>
                  <a:pt x="12133" y="5500"/>
                  <a:pt x="12308" y="5694"/>
                  <a:pt x="12601" y="5694"/>
                </a:cubicBezTo>
                <a:close/>
                <a:moveTo>
                  <a:pt x="12353" y="6003"/>
                </a:moveTo>
                <a:lnTo>
                  <a:pt x="12353" y="6003"/>
                </a:lnTo>
                <a:lnTo>
                  <a:pt x="12139" y="6003"/>
                </a:lnTo>
                <a:cubicBezTo>
                  <a:pt x="12052" y="6532"/>
                  <a:pt x="11881" y="7032"/>
                  <a:pt x="11641" y="7492"/>
                </a:cubicBezTo>
                <a:lnTo>
                  <a:pt x="11879" y="7492"/>
                </a:lnTo>
                <a:cubicBezTo>
                  <a:pt x="12107" y="7030"/>
                  <a:pt x="12270" y="6530"/>
                  <a:pt x="12353" y="6003"/>
                </a:cubicBezTo>
                <a:close/>
                <a:moveTo>
                  <a:pt x="14020" y="5486"/>
                </a:moveTo>
                <a:lnTo>
                  <a:pt x="14020" y="5486"/>
                </a:lnTo>
                <a:lnTo>
                  <a:pt x="13558" y="5486"/>
                </a:lnTo>
                <a:lnTo>
                  <a:pt x="13558" y="5254"/>
                </a:lnTo>
                <a:lnTo>
                  <a:pt x="14020" y="5254"/>
                </a:lnTo>
                <a:lnTo>
                  <a:pt x="14020" y="5072"/>
                </a:lnTo>
                <a:lnTo>
                  <a:pt x="13558" y="5072"/>
                </a:lnTo>
                <a:lnTo>
                  <a:pt x="13558" y="4865"/>
                </a:lnTo>
                <a:lnTo>
                  <a:pt x="14020" y="4865"/>
                </a:lnTo>
                <a:lnTo>
                  <a:pt x="14020" y="4676"/>
                </a:lnTo>
                <a:lnTo>
                  <a:pt x="13344" y="4676"/>
                </a:lnTo>
                <a:lnTo>
                  <a:pt x="13344" y="5671"/>
                </a:lnTo>
                <a:lnTo>
                  <a:pt x="14020" y="5671"/>
                </a:lnTo>
                <a:lnTo>
                  <a:pt x="14020" y="5486"/>
                </a:lnTo>
                <a:close/>
                <a:moveTo>
                  <a:pt x="12347" y="4342"/>
                </a:moveTo>
                <a:lnTo>
                  <a:pt x="12347" y="4342"/>
                </a:lnTo>
                <a:cubicBezTo>
                  <a:pt x="11942" y="1879"/>
                  <a:pt x="9805" y="0"/>
                  <a:pt x="7227" y="0"/>
                </a:cubicBezTo>
                <a:cubicBezTo>
                  <a:pt x="4649" y="0"/>
                  <a:pt x="2511" y="1879"/>
                  <a:pt x="2107" y="4342"/>
                </a:cubicBezTo>
                <a:lnTo>
                  <a:pt x="2320" y="4342"/>
                </a:lnTo>
                <a:cubicBezTo>
                  <a:pt x="2724" y="1998"/>
                  <a:pt x="4769" y="209"/>
                  <a:pt x="7227" y="209"/>
                </a:cubicBezTo>
                <a:cubicBezTo>
                  <a:pt x="9684" y="209"/>
                  <a:pt x="11730" y="1998"/>
                  <a:pt x="12134" y="4342"/>
                </a:cubicBezTo>
                <a:lnTo>
                  <a:pt x="12347" y="4342"/>
                </a:lnTo>
                <a:close/>
                <a:moveTo>
                  <a:pt x="2314" y="6003"/>
                </a:moveTo>
                <a:lnTo>
                  <a:pt x="2314" y="6003"/>
                </a:lnTo>
                <a:lnTo>
                  <a:pt x="2101" y="6003"/>
                </a:lnTo>
                <a:cubicBezTo>
                  <a:pt x="2184" y="6530"/>
                  <a:pt x="2346" y="7030"/>
                  <a:pt x="2575" y="7492"/>
                </a:cubicBezTo>
                <a:lnTo>
                  <a:pt x="2813" y="7492"/>
                </a:lnTo>
                <a:cubicBezTo>
                  <a:pt x="2572" y="7032"/>
                  <a:pt x="2401" y="6532"/>
                  <a:pt x="2314" y="6003"/>
                </a:cubicBezTo>
                <a:close/>
                <a:moveTo>
                  <a:pt x="11829" y="4676"/>
                </a:moveTo>
                <a:lnTo>
                  <a:pt x="11829" y="4676"/>
                </a:lnTo>
                <a:lnTo>
                  <a:pt x="11619" y="4676"/>
                </a:lnTo>
                <a:lnTo>
                  <a:pt x="11619" y="5671"/>
                </a:lnTo>
                <a:lnTo>
                  <a:pt x="11829" y="5671"/>
                </a:lnTo>
                <a:lnTo>
                  <a:pt x="11829" y="4676"/>
                </a:lnTo>
                <a:close/>
                <a:moveTo>
                  <a:pt x="596" y="5669"/>
                </a:moveTo>
                <a:lnTo>
                  <a:pt x="596" y="5669"/>
                </a:lnTo>
                <a:cubicBezTo>
                  <a:pt x="603" y="5636"/>
                  <a:pt x="759" y="4889"/>
                  <a:pt x="759" y="4877"/>
                </a:cubicBezTo>
                <a:lnTo>
                  <a:pt x="762" y="4877"/>
                </a:lnTo>
                <a:lnTo>
                  <a:pt x="952" y="5669"/>
                </a:lnTo>
                <a:lnTo>
                  <a:pt x="1233" y="5669"/>
                </a:lnTo>
                <a:lnTo>
                  <a:pt x="1511" y="4676"/>
                </a:lnTo>
                <a:lnTo>
                  <a:pt x="1300" y="4676"/>
                </a:lnTo>
                <a:cubicBezTo>
                  <a:pt x="1270" y="4779"/>
                  <a:pt x="1103" y="5343"/>
                  <a:pt x="1090" y="5449"/>
                </a:cubicBezTo>
                <a:lnTo>
                  <a:pt x="1086" y="5449"/>
                </a:lnTo>
                <a:cubicBezTo>
                  <a:pt x="1086" y="5437"/>
                  <a:pt x="923" y="4709"/>
                  <a:pt x="916" y="4676"/>
                </a:cubicBezTo>
                <a:lnTo>
                  <a:pt x="604" y="4676"/>
                </a:lnTo>
                <a:cubicBezTo>
                  <a:pt x="598" y="4703"/>
                  <a:pt x="459" y="5424"/>
                  <a:pt x="454" y="5449"/>
                </a:cubicBezTo>
                <a:lnTo>
                  <a:pt x="449" y="5449"/>
                </a:lnTo>
                <a:cubicBezTo>
                  <a:pt x="436" y="5340"/>
                  <a:pt x="246" y="4781"/>
                  <a:pt x="210" y="4676"/>
                </a:cubicBezTo>
                <a:lnTo>
                  <a:pt x="0" y="4676"/>
                </a:lnTo>
                <a:lnTo>
                  <a:pt x="315" y="5669"/>
                </a:lnTo>
                <a:lnTo>
                  <a:pt x="596" y="5669"/>
                </a:lnTo>
                <a:close/>
                <a:moveTo>
                  <a:pt x="2208" y="4836"/>
                </a:moveTo>
                <a:lnTo>
                  <a:pt x="2208" y="4836"/>
                </a:lnTo>
                <a:cubicBezTo>
                  <a:pt x="2029" y="4836"/>
                  <a:pt x="1904" y="4976"/>
                  <a:pt x="1904" y="5175"/>
                </a:cubicBezTo>
                <a:cubicBezTo>
                  <a:pt x="1904" y="5375"/>
                  <a:pt x="2029" y="5515"/>
                  <a:pt x="2208" y="5515"/>
                </a:cubicBezTo>
                <a:cubicBezTo>
                  <a:pt x="2387" y="5515"/>
                  <a:pt x="2512" y="5375"/>
                  <a:pt x="2512" y="5175"/>
                </a:cubicBezTo>
                <a:cubicBezTo>
                  <a:pt x="2512" y="4976"/>
                  <a:pt x="2387" y="4836"/>
                  <a:pt x="2208" y="4836"/>
                </a:cubicBezTo>
                <a:close/>
                <a:moveTo>
                  <a:pt x="2208" y="4657"/>
                </a:moveTo>
                <a:lnTo>
                  <a:pt x="2208" y="4657"/>
                </a:lnTo>
                <a:cubicBezTo>
                  <a:pt x="2516" y="4657"/>
                  <a:pt x="2706" y="4852"/>
                  <a:pt x="2706" y="5175"/>
                </a:cubicBezTo>
                <a:cubicBezTo>
                  <a:pt x="2706" y="5498"/>
                  <a:pt x="2516" y="5694"/>
                  <a:pt x="2208" y="5694"/>
                </a:cubicBezTo>
                <a:cubicBezTo>
                  <a:pt x="1900" y="5694"/>
                  <a:pt x="1710" y="5498"/>
                  <a:pt x="1710" y="5175"/>
                </a:cubicBezTo>
                <a:cubicBezTo>
                  <a:pt x="1710" y="4853"/>
                  <a:pt x="1900" y="4657"/>
                  <a:pt x="2208" y="4657"/>
                </a:cubicBezTo>
                <a:close/>
                <a:moveTo>
                  <a:pt x="9886" y="4993"/>
                </a:moveTo>
                <a:lnTo>
                  <a:pt x="9886" y="4993"/>
                </a:lnTo>
                <a:cubicBezTo>
                  <a:pt x="9886" y="4903"/>
                  <a:pt x="9825" y="4861"/>
                  <a:pt x="9693" y="4861"/>
                </a:cubicBezTo>
                <a:lnTo>
                  <a:pt x="9454" y="4861"/>
                </a:lnTo>
                <a:lnTo>
                  <a:pt x="9454" y="5123"/>
                </a:lnTo>
                <a:lnTo>
                  <a:pt x="9689" y="5123"/>
                </a:lnTo>
                <a:cubicBezTo>
                  <a:pt x="9791" y="5123"/>
                  <a:pt x="9886" y="5107"/>
                  <a:pt x="9886" y="4993"/>
                </a:cubicBezTo>
                <a:close/>
                <a:moveTo>
                  <a:pt x="9882" y="5290"/>
                </a:moveTo>
                <a:lnTo>
                  <a:pt x="9882" y="5290"/>
                </a:lnTo>
                <a:lnTo>
                  <a:pt x="10144" y="5671"/>
                </a:lnTo>
                <a:lnTo>
                  <a:pt x="9892" y="5671"/>
                </a:lnTo>
                <a:cubicBezTo>
                  <a:pt x="9889" y="5667"/>
                  <a:pt x="9662" y="5321"/>
                  <a:pt x="9658" y="5316"/>
                </a:cubicBezTo>
                <a:lnTo>
                  <a:pt x="9454" y="5316"/>
                </a:lnTo>
                <a:lnTo>
                  <a:pt x="9454" y="5671"/>
                </a:lnTo>
                <a:lnTo>
                  <a:pt x="9240" y="5671"/>
                </a:lnTo>
                <a:lnTo>
                  <a:pt x="9240" y="4676"/>
                </a:lnTo>
                <a:lnTo>
                  <a:pt x="9694" y="4676"/>
                </a:lnTo>
                <a:cubicBezTo>
                  <a:pt x="9926" y="4676"/>
                  <a:pt x="10111" y="4758"/>
                  <a:pt x="10111" y="4992"/>
                </a:cubicBezTo>
                <a:cubicBezTo>
                  <a:pt x="10111" y="5138"/>
                  <a:pt x="10036" y="5244"/>
                  <a:pt x="9882" y="5290"/>
                </a:cubicBezTo>
                <a:close/>
                <a:moveTo>
                  <a:pt x="3394" y="4342"/>
                </a:moveTo>
                <a:lnTo>
                  <a:pt x="3394" y="4342"/>
                </a:lnTo>
                <a:lnTo>
                  <a:pt x="3606" y="4342"/>
                </a:lnTo>
                <a:cubicBezTo>
                  <a:pt x="3801" y="2971"/>
                  <a:pt x="4460" y="1805"/>
                  <a:pt x="5368" y="1122"/>
                </a:cubicBezTo>
                <a:cubicBezTo>
                  <a:pt x="5294" y="1089"/>
                  <a:pt x="5224" y="1055"/>
                  <a:pt x="5159" y="1019"/>
                </a:cubicBezTo>
                <a:cubicBezTo>
                  <a:pt x="4243" y="1747"/>
                  <a:pt x="3586" y="2943"/>
                  <a:pt x="3394" y="4342"/>
                </a:cubicBezTo>
                <a:close/>
                <a:moveTo>
                  <a:pt x="4237" y="4676"/>
                </a:moveTo>
                <a:lnTo>
                  <a:pt x="4237" y="4676"/>
                </a:lnTo>
                <a:lnTo>
                  <a:pt x="4237" y="5671"/>
                </a:lnTo>
                <a:lnTo>
                  <a:pt x="4992" y="5671"/>
                </a:lnTo>
                <a:lnTo>
                  <a:pt x="4992" y="5482"/>
                </a:lnTo>
                <a:lnTo>
                  <a:pt x="4443" y="5482"/>
                </a:lnTo>
                <a:lnTo>
                  <a:pt x="4443" y="4676"/>
                </a:lnTo>
                <a:lnTo>
                  <a:pt x="4237" y="4676"/>
                </a:lnTo>
                <a:close/>
                <a:moveTo>
                  <a:pt x="3234" y="5123"/>
                </a:moveTo>
                <a:lnTo>
                  <a:pt x="3234" y="5123"/>
                </a:lnTo>
                <a:lnTo>
                  <a:pt x="3469" y="5123"/>
                </a:lnTo>
                <a:cubicBezTo>
                  <a:pt x="3572" y="5123"/>
                  <a:pt x="3667" y="5107"/>
                  <a:pt x="3667" y="4993"/>
                </a:cubicBezTo>
                <a:cubicBezTo>
                  <a:pt x="3667" y="4903"/>
                  <a:pt x="3605" y="4861"/>
                  <a:pt x="3473" y="4861"/>
                </a:cubicBezTo>
                <a:lnTo>
                  <a:pt x="3234" y="4861"/>
                </a:lnTo>
                <a:lnTo>
                  <a:pt x="3234" y="5123"/>
                </a:lnTo>
                <a:close/>
                <a:moveTo>
                  <a:pt x="3021" y="4676"/>
                </a:moveTo>
                <a:lnTo>
                  <a:pt x="3021" y="4676"/>
                </a:lnTo>
                <a:lnTo>
                  <a:pt x="3475" y="4676"/>
                </a:lnTo>
                <a:cubicBezTo>
                  <a:pt x="3714" y="4676"/>
                  <a:pt x="3892" y="4754"/>
                  <a:pt x="3892" y="4992"/>
                </a:cubicBezTo>
                <a:cubicBezTo>
                  <a:pt x="3892" y="5138"/>
                  <a:pt x="3816" y="5244"/>
                  <a:pt x="3662" y="5290"/>
                </a:cubicBezTo>
                <a:lnTo>
                  <a:pt x="3925" y="5671"/>
                </a:lnTo>
                <a:lnTo>
                  <a:pt x="3673" y="5671"/>
                </a:lnTo>
                <a:cubicBezTo>
                  <a:pt x="3670" y="5667"/>
                  <a:pt x="3442" y="5321"/>
                  <a:pt x="3439" y="5316"/>
                </a:cubicBezTo>
                <a:lnTo>
                  <a:pt x="3234" y="5316"/>
                </a:lnTo>
                <a:lnTo>
                  <a:pt x="3234" y="5671"/>
                </a:lnTo>
                <a:lnTo>
                  <a:pt x="3021" y="5671"/>
                </a:lnTo>
                <a:lnTo>
                  <a:pt x="3021" y="4676"/>
                </a:lnTo>
                <a:close/>
                <a:moveTo>
                  <a:pt x="4675" y="4342"/>
                </a:moveTo>
                <a:lnTo>
                  <a:pt x="4675" y="4342"/>
                </a:lnTo>
                <a:lnTo>
                  <a:pt x="4886" y="4342"/>
                </a:lnTo>
                <a:cubicBezTo>
                  <a:pt x="4994" y="3310"/>
                  <a:pt x="5343" y="2097"/>
                  <a:pt x="6044" y="1337"/>
                </a:cubicBezTo>
                <a:cubicBezTo>
                  <a:pt x="5966" y="1320"/>
                  <a:pt x="5890" y="1301"/>
                  <a:pt x="5817" y="1280"/>
                </a:cubicBezTo>
                <a:cubicBezTo>
                  <a:pt x="5230" y="1963"/>
                  <a:pt x="4807" y="3061"/>
                  <a:pt x="4675" y="4342"/>
                </a:cubicBezTo>
                <a:close/>
                <a:moveTo>
                  <a:pt x="5584" y="4872"/>
                </a:moveTo>
                <a:lnTo>
                  <a:pt x="5584" y="4872"/>
                </a:lnTo>
                <a:lnTo>
                  <a:pt x="5461" y="4872"/>
                </a:lnTo>
                <a:lnTo>
                  <a:pt x="5461" y="5479"/>
                </a:lnTo>
                <a:lnTo>
                  <a:pt x="5584" y="5479"/>
                </a:lnTo>
                <a:cubicBezTo>
                  <a:pt x="5819" y="5479"/>
                  <a:pt x="5924" y="5385"/>
                  <a:pt x="5924" y="5175"/>
                </a:cubicBezTo>
                <a:cubicBezTo>
                  <a:pt x="5924" y="4965"/>
                  <a:pt x="5819" y="4872"/>
                  <a:pt x="5584" y="4872"/>
                </a:cubicBezTo>
                <a:close/>
                <a:moveTo>
                  <a:pt x="5587" y="4679"/>
                </a:moveTo>
                <a:lnTo>
                  <a:pt x="5587" y="4679"/>
                </a:lnTo>
                <a:cubicBezTo>
                  <a:pt x="5924" y="4679"/>
                  <a:pt x="6146" y="4840"/>
                  <a:pt x="6146" y="5175"/>
                </a:cubicBezTo>
                <a:cubicBezTo>
                  <a:pt x="6146" y="5511"/>
                  <a:pt x="5924" y="5671"/>
                  <a:pt x="5587" y="5671"/>
                </a:cubicBezTo>
                <a:lnTo>
                  <a:pt x="5247" y="5671"/>
                </a:lnTo>
                <a:lnTo>
                  <a:pt x="5247" y="4679"/>
                </a:lnTo>
                <a:lnTo>
                  <a:pt x="5587" y="4679"/>
                </a:lnTo>
                <a:close/>
                <a:moveTo>
                  <a:pt x="5949" y="6003"/>
                </a:moveTo>
                <a:lnTo>
                  <a:pt x="5949" y="6003"/>
                </a:lnTo>
                <a:cubicBezTo>
                  <a:pt x="5976" y="6536"/>
                  <a:pt x="6027" y="7038"/>
                  <a:pt x="6099" y="7492"/>
                </a:cubicBezTo>
                <a:lnTo>
                  <a:pt x="6311" y="7492"/>
                </a:lnTo>
                <a:cubicBezTo>
                  <a:pt x="6229" y="6977"/>
                  <a:pt x="6182" y="6455"/>
                  <a:pt x="6160" y="6003"/>
                </a:cubicBezTo>
                <a:lnTo>
                  <a:pt x="5949" y="6003"/>
                </a:lnTo>
                <a:close/>
                <a:moveTo>
                  <a:pt x="6686" y="1438"/>
                </a:moveTo>
                <a:lnTo>
                  <a:pt x="6686" y="1438"/>
                </a:lnTo>
                <a:cubicBezTo>
                  <a:pt x="6612" y="1431"/>
                  <a:pt x="6539" y="1423"/>
                  <a:pt x="6468" y="1413"/>
                </a:cubicBezTo>
                <a:cubicBezTo>
                  <a:pt x="6202" y="2102"/>
                  <a:pt x="6012" y="3141"/>
                  <a:pt x="5951" y="4342"/>
                </a:cubicBezTo>
                <a:lnTo>
                  <a:pt x="6161" y="4342"/>
                </a:lnTo>
                <a:cubicBezTo>
                  <a:pt x="6228" y="3058"/>
                  <a:pt x="6441" y="2056"/>
                  <a:pt x="6686" y="1438"/>
                </a:cubicBezTo>
                <a:close/>
                <a:moveTo>
                  <a:pt x="3601" y="6003"/>
                </a:moveTo>
                <a:lnTo>
                  <a:pt x="3601" y="6003"/>
                </a:lnTo>
                <a:lnTo>
                  <a:pt x="3389" y="6003"/>
                </a:lnTo>
                <a:cubicBezTo>
                  <a:pt x="3459" y="6532"/>
                  <a:pt x="3595" y="7033"/>
                  <a:pt x="3787" y="7492"/>
                </a:cubicBezTo>
                <a:lnTo>
                  <a:pt x="4016" y="7492"/>
                </a:lnTo>
                <a:cubicBezTo>
                  <a:pt x="3816" y="7036"/>
                  <a:pt x="3674" y="6535"/>
                  <a:pt x="3601" y="6003"/>
                </a:cubicBezTo>
                <a:close/>
                <a:moveTo>
                  <a:pt x="7435" y="5549"/>
                </a:moveTo>
                <a:lnTo>
                  <a:pt x="7435" y="5549"/>
                </a:lnTo>
                <a:cubicBezTo>
                  <a:pt x="7325" y="5549"/>
                  <a:pt x="7245" y="5503"/>
                  <a:pt x="7230" y="5391"/>
                </a:cubicBezTo>
                <a:lnTo>
                  <a:pt x="7005" y="5391"/>
                </a:lnTo>
                <a:cubicBezTo>
                  <a:pt x="7022" y="5622"/>
                  <a:pt x="7207" y="5721"/>
                  <a:pt x="7438" y="5721"/>
                </a:cubicBezTo>
                <a:cubicBezTo>
                  <a:pt x="7648" y="5721"/>
                  <a:pt x="7830" y="5614"/>
                  <a:pt x="7837" y="5404"/>
                </a:cubicBezTo>
                <a:cubicBezTo>
                  <a:pt x="7844" y="5188"/>
                  <a:pt x="7686" y="5144"/>
                  <a:pt x="7503" y="5094"/>
                </a:cubicBezTo>
                <a:cubicBezTo>
                  <a:pt x="7393" y="5064"/>
                  <a:pt x="7248" y="5024"/>
                  <a:pt x="7252" y="4910"/>
                </a:cubicBezTo>
                <a:cubicBezTo>
                  <a:pt x="7255" y="4830"/>
                  <a:pt x="7339" y="4797"/>
                  <a:pt x="7419" y="4799"/>
                </a:cubicBezTo>
                <a:cubicBezTo>
                  <a:pt x="7537" y="4803"/>
                  <a:pt x="7588" y="4860"/>
                  <a:pt x="7595" y="4952"/>
                </a:cubicBezTo>
                <a:lnTo>
                  <a:pt x="7815" y="4952"/>
                </a:lnTo>
                <a:cubicBezTo>
                  <a:pt x="7806" y="4723"/>
                  <a:pt x="7638" y="4630"/>
                  <a:pt x="7408" y="4630"/>
                </a:cubicBezTo>
                <a:cubicBezTo>
                  <a:pt x="7211" y="4630"/>
                  <a:pt x="7037" y="4732"/>
                  <a:pt x="7030" y="4926"/>
                </a:cubicBezTo>
                <a:cubicBezTo>
                  <a:pt x="7023" y="5153"/>
                  <a:pt x="7198" y="5196"/>
                  <a:pt x="7399" y="5253"/>
                </a:cubicBezTo>
                <a:cubicBezTo>
                  <a:pt x="7495" y="5281"/>
                  <a:pt x="7607" y="5312"/>
                  <a:pt x="7610" y="5409"/>
                </a:cubicBezTo>
                <a:cubicBezTo>
                  <a:pt x="7608" y="5488"/>
                  <a:pt x="7541" y="5549"/>
                  <a:pt x="7435" y="5549"/>
                </a:cubicBezTo>
                <a:close/>
                <a:moveTo>
                  <a:pt x="7122" y="1461"/>
                </a:moveTo>
                <a:lnTo>
                  <a:pt x="7122" y="1461"/>
                </a:lnTo>
                <a:lnTo>
                  <a:pt x="7122" y="4342"/>
                </a:lnTo>
                <a:lnTo>
                  <a:pt x="7332" y="4342"/>
                </a:lnTo>
                <a:lnTo>
                  <a:pt x="7332" y="1461"/>
                </a:lnTo>
                <a:cubicBezTo>
                  <a:pt x="7151" y="1464"/>
                  <a:pt x="7316" y="1464"/>
                  <a:pt x="7122" y="1461"/>
                </a:cubicBezTo>
                <a:close/>
                <a:moveTo>
                  <a:pt x="8911" y="4865"/>
                </a:moveTo>
                <a:lnTo>
                  <a:pt x="8911" y="4865"/>
                </a:lnTo>
                <a:lnTo>
                  <a:pt x="8911" y="4676"/>
                </a:lnTo>
                <a:lnTo>
                  <a:pt x="8147" y="4676"/>
                </a:lnTo>
                <a:lnTo>
                  <a:pt x="8147" y="5671"/>
                </a:lnTo>
                <a:lnTo>
                  <a:pt x="8935" y="5671"/>
                </a:lnTo>
                <a:lnTo>
                  <a:pt x="8935" y="5486"/>
                </a:lnTo>
                <a:lnTo>
                  <a:pt x="8361" y="5486"/>
                </a:lnTo>
                <a:lnTo>
                  <a:pt x="8361" y="5254"/>
                </a:lnTo>
                <a:lnTo>
                  <a:pt x="8823" y="5254"/>
                </a:lnTo>
                <a:lnTo>
                  <a:pt x="8823" y="5072"/>
                </a:lnTo>
                <a:lnTo>
                  <a:pt x="8361" y="5072"/>
                </a:lnTo>
                <a:lnTo>
                  <a:pt x="8361" y="4865"/>
                </a:lnTo>
                <a:lnTo>
                  <a:pt x="8911" y="4865"/>
                </a:lnTo>
                <a:close/>
                <a:moveTo>
                  <a:pt x="8294" y="6003"/>
                </a:moveTo>
                <a:lnTo>
                  <a:pt x="8294" y="6003"/>
                </a:lnTo>
                <a:cubicBezTo>
                  <a:pt x="8267" y="6553"/>
                  <a:pt x="8212" y="7052"/>
                  <a:pt x="8140" y="7492"/>
                </a:cubicBezTo>
                <a:lnTo>
                  <a:pt x="8355" y="7492"/>
                </a:lnTo>
                <a:cubicBezTo>
                  <a:pt x="8427" y="7038"/>
                  <a:pt x="8478" y="6536"/>
                  <a:pt x="8504" y="6003"/>
                </a:cubicBezTo>
                <a:lnTo>
                  <a:pt x="8294" y="6003"/>
                </a:lnTo>
                <a:close/>
                <a:moveTo>
                  <a:pt x="4883" y="6003"/>
                </a:moveTo>
                <a:lnTo>
                  <a:pt x="4883" y="6003"/>
                </a:lnTo>
                <a:cubicBezTo>
                  <a:pt x="4932" y="6483"/>
                  <a:pt x="5031" y="6999"/>
                  <a:pt x="5192" y="7492"/>
                </a:cubicBezTo>
                <a:lnTo>
                  <a:pt x="4972" y="7492"/>
                </a:lnTo>
                <a:cubicBezTo>
                  <a:pt x="4828" y="7038"/>
                  <a:pt x="4725" y="6536"/>
                  <a:pt x="4672" y="6003"/>
                </a:cubicBezTo>
                <a:lnTo>
                  <a:pt x="4883" y="6003"/>
                </a:lnTo>
                <a:close/>
              </a:path>
            </a:pathLst>
          </a:custGeom>
          <a:solidFill>
            <a:srgbClr val="006FC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 name="Title 1">
            <a:extLst>
              <a:ext uri="{FF2B5EF4-FFF2-40B4-BE49-F238E27FC236}">
                <a16:creationId xmlns:a16="http://schemas.microsoft.com/office/drawing/2014/main" id="{F9AC90E9-8548-4F44-A404-4532EB3B482D}"/>
              </a:ext>
            </a:extLst>
          </p:cNvPr>
          <p:cNvSpPr>
            <a:spLocks noGrp="1"/>
          </p:cNvSpPr>
          <p:nvPr>
            <p:ph type="title" hasCustomPrompt="1"/>
          </p:nvPr>
        </p:nvSpPr>
        <p:spPr>
          <a:xfrm>
            <a:off x="609601" y="546101"/>
            <a:ext cx="5304367" cy="2255519"/>
          </a:xfrm>
        </p:spPr>
        <p:txBody>
          <a:bodyPr rIns="137160" anchor="b" anchorCtr="0"/>
          <a:lstStyle>
            <a:lvl1pPr>
              <a:defRPr sz="4267" spc="-80" baseline="0"/>
            </a:lvl1pPr>
          </a:lstStyle>
          <a:p>
            <a:r>
              <a:rPr lang="en-US"/>
              <a:t>Section header title</a:t>
            </a:r>
          </a:p>
        </p:txBody>
      </p:sp>
      <p:sp>
        <p:nvSpPr>
          <p:cNvPr id="3" name="Text Placeholder 2">
            <a:extLst>
              <a:ext uri="{FF2B5EF4-FFF2-40B4-BE49-F238E27FC236}">
                <a16:creationId xmlns:a16="http://schemas.microsoft.com/office/drawing/2014/main" id="{0E07319C-9A3D-6A49-8F17-E79484E38275}"/>
              </a:ext>
            </a:extLst>
          </p:cNvPr>
          <p:cNvSpPr>
            <a:spLocks noGrp="1"/>
          </p:cNvSpPr>
          <p:nvPr>
            <p:ph type="body" idx="1" hasCustomPrompt="1"/>
          </p:nvPr>
        </p:nvSpPr>
        <p:spPr>
          <a:xfrm>
            <a:off x="609602" y="2987041"/>
            <a:ext cx="3780365" cy="608356"/>
          </a:xfrm>
        </p:spPr>
        <p:txBody>
          <a:bodyPr>
            <a:noAutofit/>
          </a:bodyPr>
          <a:lstStyle>
            <a:lvl1pPr marL="0" indent="0">
              <a:spcBef>
                <a:spcPts val="0"/>
              </a:spcBef>
              <a:buNone/>
              <a:defRPr sz="1333" cap="none" baseline="0">
                <a:solidFill>
                  <a:schemeClr val="tx1"/>
                </a:solidFill>
              </a:defRPr>
            </a:lvl1pPr>
            <a:lvl2pPr marL="0" indent="0">
              <a:spcBef>
                <a:spcPts val="0"/>
              </a:spcBef>
              <a:buNone/>
              <a:defRPr sz="1333" cap="all" baseline="0">
                <a:solidFill>
                  <a:schemeClr val="tx1"/>
                </a:solidFill>
              </a:defRPr>
            </a:lvl2pPr>
            <a:lvl3pPr marL="0" indent="0">
              <a:spcBef>
                <a:spcPts val="0"/>
              </a:spcBef>
              <a:buNone/>
              <a:defRPr sz="1333" cap="all" baseline="0">
                <a:solidFill>
                  <a:schemeClr val="tx1"/>
                </a:solidFill>
              </a:defRPr>
            </a:lvl3pPr>
            <a:lvl4pPr marL="0" indent="0">
              <a:spcBef>
                <a:spcPts val="0"/>
              </a:spcBef>
              <a:buNone/>
              <a:defRPr sz="1333" cap="all" baseline="0">
                <a:solidFill>
                  <a:schemeClr val="tx1"/>
                </a:solidFill>
              </a:defRPr>
            </a:lvl4pPr>
            <a:lvl5pPr marL="0" indent="0">
              <a:spcBef>
                <a:spcPts val="0"/>
              </a:spcBef>
              <a:buNone/>
              <a:defRPr sz="1333" cap="all" baseline="0">
                <a:solidFill>
                  <a:schemeClr val="tx1"/>
                </a:solidFill>
              </a:defRPr>
            </a:lvl5pPr>
            <a:lvl6pPr marL="0" indent="0">
              <a:spcBef>
                <a:spcPts val="0"/>
              </a:spcBef>
              <a:buNone/>
              <a:defRPr sz="1333" cap="all" baseline="0">
                <a:solidFill>
                  <a:schemeClr val="tx1"/>
                </a:solidFill>
              </a:defRPr>
            </a:lvl6pPr>
            <a:lvl7pPr marL="0" indent="0">
              <a:spcBef>
                <a:spcPts val="0"/>
              </a:spcBef>
              <a:buNone/>
              <a:defRPr sz="1333" cap="all" baseline="0">
                <a:solidFill>
                  <a:schemeClr val="tx1"/>
                </a:solidFill>
              </a:defRPr>
            </a:lvl7pPr>
            <a:lvl8pPr marL="0" indent="0">
              <a:spcBef>
                <a:spcPts val="0"/>
              </a:spcBef>
              <a:buNone/>
              <a:defRPr sz="1333" cap="all" baseline="0">
                <a:solidFill>
                  <a:schemeClr val="tx1"/>
                </a:solidFill>
              </a:defRPr>
            </a:lvl8pPr>
            <a:lvl9pPr marL="0" indent="0">
              <a:spcBef>
                <a:spcPts val="0"/>
              </a:spcBef>
              <a:buNone/>
              <a:defRPr sz="1333" cap="all" baseline="0">
                <a:solidFill>
                  <a:schemeClr val="tx1"/>
                </a:solidFill>
              </a:defRPr>
            </a:lvl9pPr>
          </a:lstStyle>
          <a:p>
            <a:pPr lvl="0"/>
            <a:r>
              <a:rPr lang="en-US"/>
              <a:t>Optional subtitle</a:t>
            </a:r>
          </a:p>
        </p:txBody>
      </p:sp>
    </p:spTree>
    <p:extLst>
      <p:ext uri="{BB962C8B-B14F-4D97-AF65-F5344CB8AC3E}">
        <p14:creationId xmlns:p14="http://schemas.microsoft.com/office/powerpoint/2010/main" val="2832231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02 Blue">
    <p:spTree>
      <p:nvGrpSpPr>
        <p:cNvPr id="1" name=""/>
        <p:cNvGrpSpPr/>
        <p:nvPr/>
      </p:nvGrpSpPr>
      <p:grpSpPr>
        <a:xfrm>
          <a:off x="0" y="0"/>
          <a:ext cx="0" cy="0"/>
          <a:chOff x="0" y="0"/>
          <a:chExt cx="0" cy="0"/>
        </a:xfrm>
      </p:grpSpPr>
      <p:sp>
        <p:nvSpPr>
          <p:cNvPr id="7" name="Freeform 5"/>
          <p:cNvSpPr>
            <a:spLocks noEditPoints="1"/>
          </p:cNvSpPr>
          <p:nvPr userDrawn="1"/>
        </p:nvSpPr>
        <p:spPr bwMode="hidden">
          <a:xfrm>
            <a:off x="3274483" y="2089149"/>
            <a:ext cx="8917517" cy="4768851"/>
          </a:xfrm>
          <a:custGeom>
            <a:avLst/>
            <a:gdLst>
              <a:gd name="T0" fmla="*/ 8637 w 14020"/>
              <a:gd name="T1" fmla="*/ 1280 h 7492"/>
              <a:gd name="T2" fmla="*/ 8503 w 14020"/>
              <a:gd name="T3" fmla="*/ 4342 h 7492"/>
              <a:gd name="T4" fmla="*/ 10437 w 14020"/>
              <a:gd name="T5" fmla="*/ 7492 h 7492"/>
              <a:gd name="T6" fmla="*/ 7332 w 14020"/>
              <a:gd name="T7" fmla="*/ 6003 h 7492"/>
              <a:gd name="T8" fmla="*/ 9570 w 14020"/>
              <a:gd name="T9" fmla="*/ 6003 h 7492"/>
              <a:gd name="T10" fmla="*/ 9570 w 14020"/>
              <a:gd name="T11" fmla="*/ 6003 h 7492"/>
              <a:gd name="T12" fmla="*/ 11060 w 14020"/>
              <a:gd name="T13" fmla="*/ 4342 h 7492"/>
              <a:gd name="T14" fmla="*/ 10697 w 14020"/>
              <a:gd name="T15" fmla="*/ 5671 h 7492"/>
              <a:gd name="T16" fmla="*/ 10511 w 14020"/>
              <a:gd name="T17" fmla="*/ 4676 h 7492"/>
              <a:gd name="T18" fmla="*/ 12601 w 14020"/>
              <a:gd name="T19" fmla="*/ 5515 h 7492"/>
              <a:gd name="T20" fmla="*/ 12605 w 14020"/>
              <a:gd name="T21" fmla="*/ 4657 h 7492"/>
              <a:gd name="T22" fmla="*/ 12139 w 14020"/>
              <a:gd name="T23" fmla="*/ 6003 h 7492"/>
              <a:gd name="T24" fmla="*/ 14020 w 14020"/>
              <a:gd name="T25" fmla="*/ 5486 h 7492"/>
              <a:gd name="T26" fmla="*/ 13558 w 14020"/>
              <a:gd name="T27" fmla="*/ 5072 h 7492"/>
              <a:gd name="T28" fmla="*/ 13344 w 14020"/>
              <a:gd name="T29" fmla="*/ 5671 h 7492"/>
              <a:gd name="T30" fmla="*/ 7227 w 14020"/>
              <a:gd name="T31" fmla="*/ 0 h 7492"/>
              <a:gd name="T32" fmla="*/ 12347 w 14020"/>
              <a:gd name="T33" fmla="*/ 4342 h 7492"/>
              <a:gd name="T34" fmla="*/ 2813 w 14020"/>
              <a:gd name="T35" fmla="*/ 7492 h 7492"/>
              <a:gd name="T36" fmla="*/ 11619 w 14020"/>
              <a:gd name="T37" fmla="*/ 5671 h 7492"/>
              <a:gd name="T38" fmla="*/ 759 w 14020"/>
              <a:gd name="T39" fmla="*/ 4877 h 7492"/>
              <a:gd name="T40" fmla="*/ 1300 w 14020"/>
              <a:gd name="T41" fmla="*/ 4676 h 7492"/>
              <a:gd name="T42" fmla="*/ 454 w 14020"/>
              <a:gd name="T43" fmla="*/ 5449 h 7492"/>
              <a:gd name="T44" fmla="*/ 596 w 14020"/>
              <a:gd name="T45" fmla="*/ 5669 h 7492"/>
              <a:gd name="T46" fmla="*/ 2512 w 14020"/>
              <a:gd name="T47" fmla="*/ 5175 h 7492"/>
              <a:gd name="T48" fmla="*/ 2208 w 14020"/>
              <a:gd name="T49" fmla="*/ 5694 h 7492"/>
              <a:gd name="T50" fmla="*/ 9693 w 14020"/>
              <a:gd name="T51" fmla="*/ 4861 h 7492"/>
              <a:gd name="T52" fmla="*/ 9882 w 14020"/>
              <a:gd name="T53" fmla="*/ 5290 h 7492"/>
              <a:gd name="T54" fmla="*/ 9454 w 14020"/>
              <a:gd name="T55" fmla="*/ 5316 h 7492"/>
              <a:gd name="T56" fmla="*/ 10111 w 14020"/>
              <a:gd name="T57" fmla="*/ 4992 h 7492"/>
              <a:gd name="T58" fmla="*/ 5368 w 14020"/>
              <a:gd name="T59" fmla="*/ 1122 h 7492"/>
              <a:gd name="T60" fmla="*/ 4237 w 14020"/>
              <a:gd name="T61" fmla="*/ 5671 h 7492"/>
              <a:gd name="T62" fmla="*/ 4237 w 14020"/>
              <a:gd name="T63" fmla="*/ 4676 h 7492"/>
              <a:gd name="T64" fmla="*/ 3473 w 14020"/>
              <a:gd name="T65" fmla="*/ 4861 h 7492"/>
              <a:gd name="T66" fmla="*/ 3475 w 14020"/>
              <a:gd name="T67" fmla="*/ 4676 h 7492"/>
              <a:gd name="T68" fmla="*/ 3439 w 14020"/>
              <a:gd name="T69" fmla="*/ 5316 h 7492"/>
              <a:gd name="T70" fmla="*/ 4675 w 14020"/>
              <a:gd name="T71" fmla="*/ 4342 h 7492"/>
              <a:gd name="T72" fmla="*/ 4675 w 14020"/>
              <a:gd name="T73" fmla="*/ 4342 h 7492"/>
              <a:gd name="T74" fmla="*/ 5584 w 14020"/>
              <a:gd name="T75" fmla="*/ 5479 h 7492"/>
              <a:gd name="T76" fmla="*/ 6146 w 14020"/>
              <a:gd name="T77" fmla="*/ 5175 h 7492"/>
              <a:gd name="T78" fmla="*/ 5949 w 14020"/>
              <a:gd name="T79" fmla="*/ 6003 h 7492"/>
              <a:gd name="T80" fmla="*/ 5949 w 14020"/>
              <a:gd name="T81" fmla="*/ 6003 h 7492"/>
              <a:gd name="T82" fmla="*/ 6161 w 14020"/>
              <a:gd name="T83" fmla="*/ 4342 h 7492"/>
              <a:gd name="T84" fmla="*/ 3787 w 14020"/>
              <a:gd name="T85" fmla="*/ 7492 h 7492"/>
              <a:gd name="T86" fmla="*/ 7230 w 14020"/>
              <a:gd name="T87" fmla="*/ 5391 h 7492"/>
              <a:gd name="T88" fmla="*/ 7252 w 14020"/>
              <a:gd name="T89" fmla="*/ 4910 h 7492"/>
              <a:gd name="T90" fmla="*/ 7030 w 14020"/>
              <a:gd name="T91" fmla="*/ 4926 h 7492"/>
              <a:gd name="T92" fmla="*/ 7122 w 14020"/>
              <a:gd name="T93" fmla="*/ 1461 h 7492"/>
              <a:gd name="T94" fmla="*/ 8911 w 14020"/>
              <a:gd name="T95" fmla="*/ 4865 h 7492"/>
              <a:gd name="T96" fmla="*/ 8935 w 14020"/>
              <a:gd name="T97" fmla="*/ 5671 h 7492"/>
              <a:gd name="T98" fmla="*/ 8823 w 14020"/>
              <a:gd name="T99" fmla="*/ 5072 h 7492"/>
              <a:gd name="T100" fmla="*/ 8294 w 14020"/>
              <a:gd name="T101" fmla="*/ 6003 h 7492"/>
              <a:gd name="T102" fmla="*/ 4883 w 14020"/>
              <a:gd name="T103" fmla="*/ 6003 h 7492"/>
              <a:gd name="T104" fmla="*/ 4883 w 14020"/>
              <a:gd name="T105" fmla="*/ 6003 h 7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20" h="7492">
                <a:moveTo>
                  <a:pt x="8409" y="1337"/>
                </a:moveTo>
                <a:lnTo>
                  <a:pt x="8409" y="1337"/>
                </a:lnTo>
                <a:cubicBezTo>
                  <a:pt x="9112" y="2098"/>
                  <a:pt x="9460" y="3312"/>
                  <a:pt x="9567" y="4342"/>
                </a:cubicBezTo>
                <a:lnTo>
                  <a:pt x="9778" y="4342"/>
                </a:lnTo>
                <a:cubicBezTo>
                  <a:pt x="9647" y="3061"/>
                  <a:pt x="9224" y="1963"/>
                  <a:pt x="8637" y="1280"/>
                </a:cubicBezTo>
                <a:cubicBezTo>
                  <a:pt x="8563" y="1301"/>
                  <a:pt x="8487" y="1320"/>
                  <a:pt x="8409" y="1337"/>
                </a:cubicBezTo>
                <a:close/>
                <a:moveTo>
                  <a:pt x="7771" y="1438"/>
                </a:moveTo>
                <a:lnTo>
                  <a:pt x="7771" y="1438"/>
                </a:lnTo>
                <a:cubicBezTo>
                  <a:pt x="8104" y="2268"/>
                  <a:pt x="8246" y="3445"/>
                  <a:pt x="8292" y="4342"/>
                </a:cubicBezTo>
                <a:lnTo>
                  <a:pt x="8503" y="4342"/>
                </a:lnTo>
                <a:cubicBezTo>
                  <a:pt x="8441" y="3141"/>
                  <a:pt x="8251" y="2102"/>
                  <a:pt x="7986" y="1413"/>
                </a:cubicBezTo>
                <a:cubicBezTo>
                  <a:pt x="7915" y="1423"/>
                  <a:pt x="7844" y="1431"/>
                  <a:pt x="7771" y="1438"/>
                </a:cubicBezTo>
                <a:close/>
                <a:moveTo>
                  <a:pt x="10853" y="6003"/>
                </a:moveTo>
                <a:lnTo>
                  <a:pt x="10853" y="6003"/>
                </a:lnTo>
                <a:cubicBezTo>
                  <a:pt x="10780" y="6535"/>
                  <a:pt x="10637" y="7036"/>
                  <a:pt x="10437" y="7492"/>
                </a:cubicBezTo>
                <a:lnTo>
                  <a:pt x="10666" y="7492"/>
                </a:lnTo>
                <a:cubicBezTo>
                  <a:pt x="10858" y="7033"/>
                  <a:pt x="10995" y="6532"/>
                  <a:pt x="11064" y="6003"/>
                </a:cubicBezTo>
                <a:lnTo>
                  <a:pt x="10853" y="6003"/>
                </a:lnTo>
                <a:close/>
                <a:moveTo>
                  <a:pt x="7332" y="6003"/>
                </a:moveTo>
                <a:lnTo>
                  <a:pt x="7332" y="6003"/>
                </a:lnTo>
                <a:lnTo>
                  <a:pt x="7122" y="6003"/>
                </a:lnTo>
                <a:lnTo>
                  <a:pt x="7122" y="7492"/>
                </a:lnTo>
                <a:lnTo>
                  <a:pt x="7332" y="7492"/>
                </a:lnTo>
                <a:lnTo>
                  <a:pt x="7332" y="6003"/>
                </a:lnTo>
                <a:close/>
                <a:moveTo>
                  <a:pt x="9570" y="6003"/>
                </a:moveTo>
                <a:lnTo>
                  <a:pt x="9570" y="6003"/>
                </a:lnTo>
                <a:cubicBezTo>
                  <a:pt x="9522" y="6484"/>
                  <a:pt x="9423" y="7000"/>
                  <a:pt x="9262" y="7492"/>
                </a:cubicBezTo>
                <a:lnTo>
                  <a:pt x="9482" y="7492"/>
                </a:lnTo>
                <a:cubicBezTo>
                  <a:pt x="9626" y="7038"/>
                  <a:pt x="9729" y="6536"/>
                  <a:pt x="9781" y="6003"/>
                </a:cubicBezTo>
                <a:lnTo>
                  <a:pt x="9570" y="6003"/>
                </a:lnTo>
                <a:close/>
                <a:moveTo>
                  <a:pt x="9295" y="1019"/>
                </a:moveTo>
                <a:lnTo>
                  <a:pt x="9295" y="1019"/>
                </a:lnTo>
                <a:cubicBezTo>
                  <a:pt x="9230" y="1055"/>
                  <a:pt x="9159" y="1089"/>
                  <a:pt x="9085" y="1122"/>
                </a:cubicBezTo>
                <a:cubicBezTo>
                  <a:pt x="9993" y="1805"/>
                  <a:pt x="10653" y="2971"/>
                  <a:pt x="10848" y="4342"/>
                </a:cubicBezTo>
                <a:lnTo>
                  <a:pt x="11060" y="4342"/>
                </a:lnTo>
                <a:cubicBezTo>
                  <a:pt x="10868" y="2943"/>
                  <a:pt x="10210" y="1747"/>
                  <a:pt x="9295" y="1019"/>
                </a:cubicBezTo>
                <a:close/>
                <a:moveTo>
                  <a:pt x="10511" y="4676"/>
                </a:moveTo>
                <a:lnTo>
                  <a:pt x="10511" y="4676"/>
                </a:lnTo>
                <a:lnTo>
                  <a:pt x="10279" y="4676"/>
                </a:lnTo>
                <a:lnTo>
                  <a:pt x="10697" y="5671"/>
                </a:lnTo>
                <a:lnTo>
                  <a:pt x="10960" y="5671"/>
                </a:lnTo>
                <a:lnTo>
                  <a:pt x="11378" y="4676"/>
                </a:lnTo>
                <a:lnTo>
                  <a:pt x="11143" y="4676"/>
                </a:lnTo>
                <a:lnTo>
                  <a:pt x="10834" y="5443"/>
                </a:lnTo>
                <a:lnTo>
                  <a:pt x="10511" y="4676"/>
                </a:lnTo>
                <a:close/>
                <a:moveTo>
                  <a:pt x="12601" y="5694"/>
                </a:moveTo>
                <a:lnTo>
                  <a:pt x="12601" y="5694"/>
                </a:lnTo>
                <a:cubicBezTo>
                  <a:pt x="12843" y="5694"/>
                  <a:pt x="13029" y="5573"/>
                  <a:pt x="13054" y="5330"/>
                </a:cubicBezTo>
                <a:lnTo>
                  <a:pt x="12823" y="5330"/>
                </a:lnTo>
                <a:cubicBezTo>
                  <a:pt x="12804" y="5447"/>
                  <a:pt x="12724" y="5515"/>
                  <a:pt x="12601" y="5515"/>
                </a:cubicBezTo>
                <a:cubicBezTo>
                  <a:pt x="12420" y="5515"/>
                  <a:pt x="12346" y="5355"/>
                  <a:pt x="12346" y="5175"/>
                </a:cubicBezTo>
                <a:cubicBezTo>
                  <a:pt x="12346" y="4966"/>
                  <a:pt x="12445" y="4836"/>
                  <a:pt x="12605" y="4836"/>
                </a:cubicBezTo>
                <a:cubicBezTo>
                  <a:pt x="12715" y="4836"/>
                  <a:pt x="12789" y="4893"/>
                  <a:pt x="12814" y="4988"/>
                </a:cubicBezTo>
                <a:lnTo>
                  <a:pt x="13045" y="4988"/>
                </a:lnTo>
                <a:cubicBezTo>
                  <a:pt x="13018" y="4789"/>
                  <a:pt x="12847" y="4657"/>
                  <a:pt x="12605" y="4657"/>
                </a:cubicBezTo>
                <a:cubicBezTo>
                  <a:pt x="12310" y="4657"/>
                  <a:pt x="12133" y="4851"/>
                  <a:pt x="12133" y="5175"/>
                </a:cubicBezTo>
                <a:cubicBezTo>
                  <a:pt x="12133" y="5500"/>
                  <a:pt x="12308" y="5694"/>
                  <a:pt x="12601" y="5694"/>
                </a:cubicBezTo>
                <a:close/>
                <a:moveTo>
                  <a:pt x="12353" y="6003"/>
                </a:moveTo>
                <a:lnTo>
                  <a:pt x="12353" y="6003"/>
                </a:lnTo>
                <a:lnTo>
                  <a:pt x="12139" y="6003"/>
                </a:lnTo>
                <a:cubicBezTo>
                  <a:pt x="12052" y="6532"/>
                  <a:pt x="11881" y="7032"/>
                  <a:pt x="11641" y="7492"/>
                </a:cubicBezTo>
                <a:lnTo>
                  <a:pt x="11879" y="7492"/>
                </a:lnTo>
                <a:cubicBezTo>
                  <a:pt x="12107" y="7030"/>
                  <a:pt x="12270" y="6530"/>
                  <a:pt x="12353" y="6003"/>
                </a:cubicBezTo>
                <a:close/>
                <a:moveTo>
                  <a:pt x="14020" y="5486"/>
                </a:moveTo>
                <a:lnTo>
                  <a:pt x="14020" y="5486"/>
                </a:lnTo>
                <a:lnTo>
                  <a:pt x="13558" y="5486"/>
                </a:lnTo>
                <a:lnTo>
                  <a:pt x="13558" y="5254"/>
                </a:lnTo>
                <a:lnTo>
                  <a:pt x="14020" y="5254"/>
                </a:lnTo>
                <a:lnTo>
                  <a:pt x="14020" y="5072"/>
                </a:lnTo>
                <a:lnTo>
                  <a:pt x="13558" y="5072"/>
                </a:lnTo>
                <a:lnTo>
                  <a:pt x="13558" y="4865"/>
                </a:lnTo>
                <a:lnTo>
                  <a:pt x="14020" y="4865"/>
                </a:lnTo>
                <a:lnTo>
                  <a:pt x="14020" y="4676"/>
                </a:lnTo>
                <a:lnTo>
                  <a:pt x="13344" y="4676"/>
                </a:lnTo>
                <a:lnTo>
                  <a:pt x="13344" y="5671"/>
                </a:lnTo>
                <a:lnTo>
                  <a:pt x="14020" y="5671"/>
                </a:lnTo>
                <a:lnTo>
                  <a:pt x="14020" y="5486"/>
                </a:lnTo>
                <a:close/>
                <a:moveTo>
                  <a:pt x="12347" y="4342"/>
                </a:moveTo>
                <a:lnTo>
                  <a:pt x="12347" y="4342"/>
                </a:lnTo>
                <a:cubicBezTo>
                  <a:pt x="11942" y="1879"/>
                  <a:pt x="9805" y="0"/>
                  <a:pt x="7227" y="0"/>
                </a:cubicBezTo>
                <a:cubicBezTo>
                  <a:pt x="4649" y="0"/>
                  <a:pt x="2511" y="1879"/>
                  <a:pt x="2107" y="4342"/>
                </a:cubicBezTo>
                <a:lnTo>
                  <a:pt x="2320" y="4342"/>
                </a:lnTo>
                <a:cubicBezTo>
                  <a:pt x="2724" y="1998"/>
                  <a:pt x="4769" y="209"/>
                  <a:pt x="7227" y="209"/>
                </a:cubicBezTo>
                <a:cubicBezTo>
                  <a:pt x="9684" y="209"/>
                  <a:pt x="11730" y="1998"/>
                  <a:pt x="12134" y="4342"/>
                </a:cubicBezTo>
                <a:lnTo>
                  <a:pt x="12347" y="4342"/>
                </a:lnTo>
                <a:close/>
                <a:moveTo>
                  <a:pt x="2314" y="6003"/>
                </a:moveTo>
                <a:lnTo>
                  <a:pt x="2314" y="6003"/>
                </a:lnTo>
                <a:lnTo>
                  <a:pt x="2101" y="6003"/>
                </a:lnTo>
                <a:cubicBezTo>
                  <a:pt x="2184" y="6530"/>
                  <a:pt x="2346" y="7030"/>
                  <a:pt x="2575" y="7492"/>
                </a:cubicBezTo>
                <a:lnTo>
                  <a:pt x="2813" y="7492"/>
                </a:lnTo>
                <a:cubicBezTo>
                  <a:pt x="2572" y="7032"/>
                  <a:pt x="2401" y="6532"/>
                  <a:pt x="2314" y="6003"/>
                </a:cubicBezTo>
                <a:close/>
                <a:moveTo>
                  <a:pt x="11829" y="4676"/>
                </a:moveTo>
                <a:lnTo>
                  <a:pt x="11829" y="4676"/>
                </a:lnTo>
                <a:lnTo>
                  <a:pt x="11619" y="4676"/>
                </a:lnTo>
                <a:lnTo>
                  <a:pt x="11619" y="5671"/>
                </a:lnTo>
                <a:lnTo>
                  <a:pt x="11829" y="5671"/>
                </a:lnTo>
                <a:lnTo>
                  <a:pt x="11829" y="4676"/>
                </a:lnTo>
                <a:close/>
                <a:moveTo>
                  <a:pt x="596" y="5669"/>
                </a:moveTo>
                <a:lnTo>
                  <a:pt x="596" y="5669"/>
                </a:lnTo>
                <a:cubicBezTo>
                  <a:pt x="603" y="5636"/>
                  <a:pt x="759" y="4889"/>
                  <a:pt x="759" y="4877"/>
                </a:cubicBezTo>
                <a:lnTo>
                  <a:pt x="762" y="4877"/>
                </a:lnTo>
                <a:lnTo>
                  <a:pt x="952" y="5669"/>
                </a:lnTo>
                <a:lnTo>
                  <a:pt x="1233" y="5669"/>
                </a:lnTo>
                <a:lnTo>
                  <a:pt x="1511" y="4676"/>
                </a:lnTo>
                <a:lnTo>
                  <a:pt x="1300" y="4676"/>
                </a:lnTo>
                <a:cubicBezTo>
                  <a:pt x="1270" y="4779"/>
                  <a:pt x="1103" y="5343"/>
                  <a:pt x="1090" y="5449"/>
                </a:cubicBezTo>
                <a:lnTo>
                  <a:pt x="1086" y="5449"/>
                </a:lnTo>
                <a:cubicBezTo>
                  <a:pt x="1086" y="5437"/>
                  <a:pt x="923" y="4709"/>
                  <a:pt x="916" y="4676"/>
                </a:cubicBezTo>
                <a:lnTo>
                  <a:pt x="604" y="4676"/>
                </a:lnTo>
                <a:cubicBezTo>
                  <a:pt x="598" y="4703"/>
                  <a:pt x="459" y="5424"/>
                  <a:pt x="454" y="5449"/>
                </a:cubicBezTo>
                <a:lnTo>
                  <a:pt x="449" y="5449"/>
                </a:lnTo>
                <a:cubicBezTo>
                  <a:pt x="436" y="5340"/>
                  <a:pt x="246" y="4781"/>
                  <a:pt x="210" y="4676"/>
                </a:cubicBezTo>
                <a:lnTo>
                  <a:pt x="0" y="4676"/>
                </a:lnTo>
                <a:lnTo>
                  <a:pt x="315" y="5669"/>
                </a:lnTo>
                <a:lnTo>
                  <a:pt x="596" y="5669"/>
                </a:lnTo>
                <a:close/>
                <a:moveTo>
                  <a:pt x="2208" y="4836"/>
                </a:moveTo>
                <a:lnTo>
                  <a:pt x="2208" y="4836"/>
                </a:lnTo>
                <a:cubicBezTo>
                  <a:pt x="2029" y="4836"/>
                  <a:pt x="1904" y="4976"/>
                  <a:pt x="1904" y="5175"/>
                </a:cubicBezTo>
                <a:cubicBezTo>
                  <a:pt x="1904" y="5375"/>
                  <a:pt x="2029" y="5515"/>
                  <a:pt x="2208" y="5515"/>
                </a:cubicBezTo>
                <a:cubicBezTo>
                  <a:pt x="2387" y="5515"/>
                  <a:pt x="2512" y="5375"/>
                  <a:pt x="2512" y="5175"/>
                </a:cubicBezTo>
                <a:cubicBezTo>
                  <a:pt x="2512" y="4976"/>
                  <a:pt x="2387" y="4836"/>
                  <a:pt x="2208" y="4836"/>
                </a:cubicBezTo>
                <a:close/>
                <a:moveTo>
                  <a:pt x="2208" y="4657"/>
                </a:moveTo>
                <a:lnTo>
                  <a:pt x="2208" y="4657"/>
                </a:lnTo>
                <a:cubicBezTo>
                  <a:pt x="2516" y="4657"/>
                  <a:pt x="2706" y="4852"/>
                  <a:pt x="2706" y="5175"/>
                </a:cubicBezTo>
                <a:cubicBezTo>
                  <a:pt x="2706" y="5498"/>
                  <a:pt x="2516" y="5694"/>
                  <a:pt x="2208" y="5694"/>
                </a:cubicBezTo>
                <a:cubicBezTo>
                  <a:pt x="1900" y="5694"/>
                  <a:pt x="1710" y="5498"/>
                  <a:pt x="1710" y="5175"/>
                </a:cubicBezTo>
                <a:cubicBezTo>
                  <a:pt x="1710" y="4853"/>
                  <a:pt x="1900" y="4657"/>
                  <a:pt x="2208" y="4657"/>
                </a:cubicBezTo>
                <a:close/>
                <a:moveTo>
                  <a:pt x="9886" y="4993"/>
                </a:moveTo>
                <a:lnTo>
                  <a:pt x="9886" y="4993"/>
                </a:lnTo>
                <a:cubicBezTo>
                  <a:pt x="9886" y="4903"/>
                  <a:pt x="9825" y="4861"/>
                  <a:pt x="9693" y="4861"/>
                </a:cubicBezTo>
                <a:lnTo>
                  <a:pt x="9454" y="4861"/>
                </a:lnTo>
                <a:lnTo>
                  <a:pt x="9454" y="5123"/>
                </a:lnTo>
                <a:lnTo>
                  <a:pt x="9689" y="5123"/>
                </a:lnTo>
                <a:cubicBezTo>
                  <a:pt x="9791" y="5123"/>
                  <a:pt x="9886" y="5107"/>
                  <a:pt x="9886" y="4993"/>
                </a:cubicBezTo>
                <a:close/>
                <a:moveTo>
                  <a:pt x="9882" y="5290"/>
                </a:moveTo>
                <a:lnTo>
                  <a:pt x="9882" y="5290"/>
                </a:lnTo>
                <a:lnTo>
                  <a:pt x="10144" y="5671"/>
                </a:lnTo>
                <a:lnTo>
                  <a:pt x="9892" y="5671"/>
                </a:lnTo>
                <a:cubicBezTo>
                  <a:pt x="9889" y="5667"/>
                  <a:pt x="9662" y="5321"/>
                  <a:pt x="9658" y="5316"/>
                </a:cubicBezTo>
                <a:lnTo>
                  <a:pt x="9454" y="5316"/>
                </a:lnTo>
                <a:lnTo>
                  <a:pt x="9454" y="5671"/>
                </a:lnTo>
                <a:lnTo>
                  <a:pt x="9240" y="5671"/>
                </a:lnTo>
                <a:lnTo>
                  <a:pt x="9240" y="4676"/>
                </a:lnTo>
                <a:lnTo>
                  <a:pt x="9694" y="4676"/>
                </a:lnTo>
                <a:cubicBezTo>
                  <a:pt x="9926" y="4676"/>
                  <a:pt x="10111" y="4758"/>
                  <a:pt x="10111" y="4992"/>
                </a:cubicBezTo>
                <a:cubicBezTo>
                  <a:pt x="10111" y="5138"/>
                  <a:pt x="10036" y="5244"/>
                  <a:pt x="9882" y="5290"/>
                </a:cubicBezTo>
                <a:close/>
                <a:moveTo>
                  <a:pt x="3394" y="4342"/>
                </a:moveTo>
                <a:lnTo>
                  <a:pt x="3394" y="4342"/>
                </a:lnTo>
                <a:lnTo>
                  <a:pt x="3606" y="4342"/>
                </a:lnTo>
                <a:cubicBezTo>
                  <a:pt x="3801" y="2971"/>
                  <a:pt x="4460" y="1805"/>
                  <a:pt x="5368" y="1122"/>
                </a:cubicBezTo>
                <a:cubicBezTo>
                  <a:pt x="5294" y="1089"/>
                  <a:pt x="5224" y="1055"/>
                  <a:pt x="5159" y="1019"/>
                </a:cubicBezTo>
                <a:cubicBezTo>
                  <a:pt x="4243" y="1747"/>
                  <a:pt x="3586" y="2943"/>
                  <a:pt x="3394" y="4342"/>
                </a:cubicBezTo>
                <a:close/>
                <a:moveTo>
                  <a:pt x="4237" y="4676"/>
                </a:moveTo>
                <a:lnTo>
                  <a:pt x="4237" y="4676"/>
                </a:lnTo>
                <a:lnTo>
                  <a:pt x="4237" y="5671"/>
                </a:lnTo>
                <a:lnTo>
                  <a:pt x="4992" y="5671"/>
                </a:lnTo>
                <a:lnTo>
                  <a:pt x="4992" y="5482"/>
                </a:lnTo>
                <a:lnTo>
                  <a:pt x="4443" y="5482"/>
                </a:lnTo>
                <a:lnTo>
                  <a:pt x="4443" y="4676"/>
                </a:lnTo>
                <a:lnTo>
                  <a:pt x="4237" y="4676"/>
                </a:lnTo>
                <a:close/>
                <a:moveTo>
                  <a:pt x="3234" y="5123"/>
                </a:moveTo>
                <a:lnTo>
                  <a:pt x="3234" y="5123"/>
                </a:lnTo>
                <a:lnTo>
                  <a:pt x="3469" y="5123"/>
                </a:lnTo>
                <a:cubicBezTo>
                  <a:pt x="3572" y="5123"/>
                  <a:pt x="3667" y="5107"/>
                  <a:pt x="3667" y="4993"/>
                </a:cubicBezTo>
                <a:cubicBezTo>
                  <a:pt x="3667" y="4903"/>
                  <a:pt x="3605" y="4861"/>
                  <a:pt x="3473" y="4861"/>
                </a:cubicBezTo>
                <a:lnTo>
                  <a:pt x="3234" y="4861"/>
                </a:lnTo>
                <a:lnTo>
                  <a:pt x="3234" y="5123"/>
                </a:lnTo>
                <a:close/>
                <a:moveTo>
                  <a:pt x="3021" y="4676"/>
                </a:moveTo>
                <a:lnTo>
                  <a:pt x="3021" y="4676"/>
                </a:lnTo>
                <a:lnTo>
                  <a:pt x="3475" y="4676"/>
                </a:lnTo>
                <a:cubicBezTo>
                  <a:pt x="3714" y="4676"/>
                  <a:pt x="3892" y="4754"/>
                  <a:pt x="3892" y="4992"/>
                </a:cubicBezTo>
                <a:cubicBezTo>
                  <a:pt x="3892" y="5138"/>
                  <a:pt x="3816" y="5244"/>
                  <a:pt x="3662" y="5290"/>
                </a:cubicBezTo>
                <a:lnTo>
                  <a:pt x="3925" y="5671"/>
                </a:lnTo>
                <a:lnTo>
                  <a:pt x="3673" y="5671"/>
                </a:lnTo>
                <a:cubicBezTo>
                  <a:pt x="3670" y="5667"/>
                  <a:pt x="3442" y="5321"/>
                  <a:pt x="3439" y="5316"/>
                </a:cubicBezTo>
                <a:lnTo>
                  <a:pt x="3234" y="5316"/>
                </a:lnTo>
                <a:lnTo>
                  <a:pt x="3234" y="5671"/>
                </a:lnTo>
                <a:lnTo>
                  <a:pt x="3021" y="5671"/>
                </a:lnTo>
                <a:lnTo>
                  <a:pt x="3021" y="4676"/>
                </a:lnTo>
                <a:close/>
                <a:moveTo>
                  <a:pt x="4675" y="4342"/>
                </a:moveTo>
                <a:lnTo>
                  <a:pt x="4675" y="4342"/>
                </a:lnTo>
                <a:lnTo>
                  <a:pt x="4886" y="4342"/>
                </a:lnTo>
                <a:cubicBezTo>
                  <a:pt x="4994" y="3310"/>
                  <a:pt x="5343" y="2097"/>
                  <a:pt x="6044" y="1337"/>
                </a:cubicBezTo>
                <a:cubicBezTo>
                  <a:pt x="5966" y="1320"/>
                  <a:pt x="5890" y="1301"/>
                  <a:pt x="5817" y="1280"/>
                </a:cubicBezTo>
                <a:cubicBezTo>
                  <a:pt x="5230" y="1963"/>
                  <a:pt x="4807" y="3061"/>
                  <a:pt x="4675" y="4342"/>
                </a:cubicBezTo>
                <a:close/>
                <a:moveTo>
                  <a:pt x="5584" y="4872"/>
                </a:moveTo>
                <a:lnTo>
                  <a:pt x="5584" y="4872"/>
                </a:lnTo>
                <a:lnTo>
                  <a:pt x="5461" y="4872"/>
                </a:lnTo>
                <a:lnTo>
                  <a:pt x="5461" y="5479"/>
                </a:lnTo>
                <a:lnTo>
                  <a:pt x="5584" y="5479"/>
                </a:lnTo>
                <a:cubicBezTo>
                  <a:pt x="5819" y="5479"/>
                  <a:pt x="5924" y="5385"/>
                  <a:pt x="5924" y="5175"/>
                </a:cubicBezTo>
                <a:cubicBezTo>
                  <a:pt x="5924" y="4965"/>
                  <a:pt x="5819" y="4872"/>
                  <a:pt x="5584" y="4872"/>
                </a:cubicBezTo>
                <a:close/>
                <a:moveTo>
                  <a:pt x="5587" y="4679"/>
                </a:moveTo>
                <a:lnTo>
                  <a:pt x="5587" y="4679"/>
                </a:lnTo>
                <a:cubicBezTo>
                  <a:pt x="5924" y="4679"/>
                  <a:pt x="6146" y="4840"/>
                  <a:pt x="6146" y="5175"/>
                </a:cubicBezTo>
                <a:cubicBezTo>
                  <a:pt x="6146" y="5511"/>
                  <a:pt x="5924" y="5671"/>
                  <a:pt x="5587" y="5671"/>
                </a:cubicBezTo>
                <a:lnTo>
                  <a:pt x="5247" y="5671"/>
                </a:lnTo>
                <a:lnTo>
                  <a:pt x="5247" y="4679"/>
                </a:lnTo>
                <a:lnTo>
                  <a:pt x="5587" y="4679"/>
                </a:lnTo>
                <a:close/>
                <a:moveTo>
                  <a:pt x="5949" y="6003"/>
                </a:moveTo>
                <a:lnTo>
                  <a:pt x="5949" y="6003"/>
                </a:lnTo>
                <a:cubicBezTo>
                  <a:pt x="5976" y="6536"/>
                  <a:pt x="6027" y="7038"/>
                  <a:pt x="6099" y="7492"/>
                </a:cubicBezTo>
                <a:lnTo>
                  <a:pt x="6311" y="7492"/>
                </a:lnTo>
                <a:cubicBezTo>
                  <a:pt x="6229" y="6977"/>
                  <a:pt x="6182" y="6455"/>
                  <a:pt x="6160" y="6003"/>
                </a:cubicBezTo>
                <a:lnTo>
                  <a:pt x="5949" y="6003"/>
                </a:lnTo>
                <a:close/>
                <a:moveTo>
                  <a:pt x="6686" y="1438"/>
                </a:moveTo>
                <a:lnTo>
                  <a:pt x="6686" y="1438"/>
                </a:lnTo>
                <a:cubicBezTo>
                  <a:pt x="6612" y="1431"/>
                  <a:pt x="6539" y="1423"/>
                  <a:pt x="6468" y="1413"/>
                </a:cubicBezTo>
                <a:cubicBezTo>
                  <a:pt x="6202" y="2102"/>
                  <a:pt x="6012" y="3141"/>
                  <a:pt x="5951" y="4342"/>
                </a:cubicBezTo>
                <a:lnTo>
                  <a:pt x="6161" y="4342"/>
                </a:lnTo>
                <a:cubicBezTo>
                  <a:pt x="6228" y="3058"/>
                  <a:pt x="6441" y="2056"/>
                  <a:pt x="6686" y="1438"/>
                </a:cubicBezTo>
                <a:close/>
                <a:moveTo>
                  <a:pt x="3601" y="6003"/>
                </a:moveTo>
                <a:lnTo>
                  <a:pt x="3601" y="6003"/>
                </a:lnTo>
                <a:lnTo>
                  <a:pt x="3389" y="6003"/>
                </a:lnTo>
                <a:cubicBezTo>
                  <a:pt x="3459" y="6532"/>
                  <a:pt x="3595" y="7033"/>
                  <a:pt x="3787" y="7492"/>
                </a:cubicBezTo>
                <a:lnTo>
                  <a:pt x="4016" y="7492"/>
                </a:lnTo>
                <a:cubicBezTo>
                  <a:pt x="3816" y="7036"/>
                  <a:pt x="3674" y="6535"/>
                  <a:pt x="3601" y="6003"/>
                </a:cubicBezTo>
                <a:close/>
                <a:moveTo>
                  <a:pt x="7435" y="5549"/>
                </a:moveTo>
                <a:lnTo>
                  <a:pt x="7435" y="5549"/>
                </a:lnTo>
                <a:cubicBezTo>
                  <a:pt x="7325" y="5549"/>
                  <a:pt x="7245" y="5503"/>
                  <a:pt x="7230" y="5391"/>
                </a:cubicBezTo>
                <a:lnTo>
                  <a:pt x="7005" y="5391"/>
                </a:lnTo>
                <a:cubicBezTo>
                  <a:pt x="7022" y="5622"/>
                  <a:pt x="7207" y="5721"/>
                  <a:pt x="7438" y="5721"/>
                </a:cubicBezTo>
                <a:cubicBezTo>
                  <a:pt x="7648" y="5721"/>
                  <a:pt x="7830" y="5614"/>
                  <a:pt x="7837" y="5404"/>
                </a:cubicBezTo>
                <a:cubicBezTo>
                  <a:pt x="7844" y="5188"/>
                  <a:pt x="7686" y="5144"/>
                  <a:pt x="7503" y="5094"/>
                </a:cubicBezTo>
                <a:cubicBezTo>
                  <a:pt x="7393" y="5064"/>
                  <a:pt x="7248" y="5024"/>
                  <a:pt x="7252" y="4910"/>
                </a:cubicBezTo>
                <a:cubicBezTo>
                  <a:pt x="7255" y="4830"/>
                  <a:pt x="7339" y="4797"/>
                  <a:pt x="7419" y="4799"/>
                </a:cubicBezTo>
                <a:cubicBezTo>
                  <a:pt x="7537" y="4803"/>
                  <a:pt x="7588" y="4860"/>
                  <a:pt x="7595" y="4952"/>
                </a:cubicBezTo>
                <a:lnTo>
                  <a:pt x="7815" y="4952"/>
                </a:lnTo>
                <a:cubicBezTo>
                  <a:pt x="7806" y="4723"/>
                  <a:pt x="7638" y="4630"/>
                  <a:pt x="7408" y="4630"/>
                </a:cubicBezTo>
                <a:cubicBezTo>
                  <a:pt x="7211" y="4630"/>
                  <a:pt x="7037" y="4732"/>
                  <a:pt x="7030" y="4926"/>
                </a:cubicBezTo>
                <a:cubicBezTo>
                  <a:pt x="7023" y="5153"/>
                  <a:pt x="7198" y="5196"/>
                  <a:pt x="7399" y="5253"/>
                </a:cubicBezTo>
                <a:cubicBezTo>
                  <a:pt x="7495" y="5281"/>
                  <a:pt x="7607" y="5312"/>
                  <a:pt x="7610" y="5409"/>
                </a:cubicBezTo>
                <a:cubicBezTo>
                  <a:pt x="7608" y="5488"/>
                  <a:pt x="7541" y="5549"/>
                  <a:pt x="7435" y="5549"/>
                </a:cubicBezTo>
                <a:close/>
                <a:moveTo>
                  <a:pt x="7122" y="1461"/>
                </a:moveTo>
                <a:lnTo>
                  <a:pt x="7122" y="1461"/>
                </a:lnTo>
                <a:lnTo>
                  <a:pt x="7122" y="4342"/>
                </a:lnTo>
                <a:lnTo>
                  <a:pt x="7332" y="4342"/>
                </a:lnTo>
                <a:lnTo>
                  <a:pt x="7332" y="1461"/>
                </a:lnTo>
                <a:cubicBezTo>
                  <a:pt x="7151" y="1464"/>
                  <a:pt x="7316" y="1464"/>
                  <a:pt x="7122" y="1461"/>
                </a:cubicBezTo>
                <a:close/>
                <a:moveTo>
                  <a:pt x="8911" y="4865"/>
                </a:moveTo>
                <a:lnTo>
                  <a:pt x="8911" y="4865"/>
                </a:lnTo>
                <a:lnTo>
                  <a:pt x="8911" y="4676"/>
                </a:lnTo>
                <a:lnTo>
                  <a:pt x="8147" y="4676"/>
                </a:lnTo>
                <a:lnTo>
                  <a:pt x="8147" y="5671"/>
                </a:lnTo>
                <a:lnTo>
                  <a:pt x="8935" y="5671"/>
                </a:lnTo>
                <a:lnTo>
                  <a:pt x="8935" y="5486"/>
                </a:lnTo>
                <a:lnTo>
                  <a:pt x="8361" y="5486"/>
                </a:lnTo>
                <a:lnTo>
                  <a:pt x="8361" y="5254"/>
                </a:lnTo>
                <a:lnTo>
                  <a:pt x="8823" y="5254"/>
                </a:lnTo>
                <a:lnTo>
                  <a:pt x="8823" y="5072"/>
                </a:lnTo>
                <a:lnTo>
                  <a:pt x="8361" y="5072"/>
                </a:lnTo>
                <a:lnTo>
                  <a:pt x="8361" y="4865"/>
                </a:lnTo>
                <a:lnTo>
                  <a:pt x="8911" y="4865"/>
                </a:lnTo>
                <a:close/>
                <a:moveTo>
                  <a:pt x="8294" y="6003"/>
                </a:moveTo>
                <a:lnTo>
                  <a:pt x="8294" y="6003"/>
                </a:lnTo>
                <a:cubicBezTo>
                  <a:pt x="8267" y="6553"/>
                  <a:pt x="8212" y="7052"/>
                  <a:pt x="8140" y="7492"/>
                </a:cubicBezTo>
                <a:lnTo>
                  <a:pt x="8355" y="7492"/>
                </a:lnTo>
                <a:cubicBezTo>
                  <a:pt x="8427" y="7038"/>
                  <a:pt x="8478" y="6536"/>
                  <a:pt x="8504" y="6003"/>
                </a:cubicBezTo>
                <a:lnTo>
                  <a:pt x="8294" y="6003"/>
                </a:lnTo>
                <a:close/>
                <a:moveTo>
                  <a:pt x="4883" y="6003"/>
                </a:moveTo>
                <a:lnTo>
                  <a:pt x="4883" y="6003"/>
                </a:lnTo>
                <a:cubicBezTo>
                  <a:pt x="4932" y="6483"/>
                  <a:pt x="5031" y="6999"/>
                  <a:pt x="5192" y="7492"/>
                </a:cubicBezTo>
                <a:lnTo>
                  <a:pt x="4972" y="7492"/>
                </a:lnTo>
                <a:cubicBezTo>
                  <a:pt x="4828" y="7038"/>
                  <a:pt x="4725" y="6536"/>
                  <a:pt x="4672" y="6003"/>
                </a:cubicBezTo>
                <a:lnTo>
                  <a:pt x="4883" y="6003"/>
                </a:lnTo>
                <a:close/>
              </a:path>
            </a:pathLst>
          </a:custGeom>
          <a:solidFill>
            <a:srgbClr val="00175A"/>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 name="Title 1">
            <a:extLst>
              <a:ext uri="{FF2B5EF4-FFF2-40B4-BE49-F238E27FC236}">
                <a16:creationId xmlns:a16="http://schemas.microsoft.com/office/drawing/2014/main" id="{F9AC90E9-8548-4F44-A404-4532EB3B482D}"/>
              </a:ext>
            </a:extLst>
          </p:cNvPr>
          <p:cNvSpPr>
            <a:spLocks noGrp="1"/>
          </p:cNvSpPr>
          <p:nvPr>
            <p:ph type="title" hasCustomPrompt="1"/>
          </p:nvPr>
        </p:nvSpPr>
        <p:spPr>
          <a:xfrm>
            <a:off x="609601" y="546101"/>
            <a:ext cx="5304367" cy="2255519"/>
          </a:xfrm>
        </p:spPr>
        <p:txBody>
          <a:bodyPr rIns="137160" anchor="b" anchorCtr="0"/>
          <a:lstStyle>
            <a:lvl1pPr>
              <a:defRPr sz="4267" spc="-80" baseline="0">
                <a:solidFill>
                  <a:schemeClr val="bg1"/>
                </a:solidFill>
              </a:defRPr>
            </a:lvl1pPr>
          </a:lstStyle>
          <a:p>
            <a:r>
              <a:rPr lang="en-US"/>
              <a:t>Section header title</a:t>
            </a:r>
          </a:p>
        </p:txBody>
      </p:sp>
      <p:sp>
        <p:nvSpPr>
          <p:cNvPr id="3" name="Text Placeholder 2">
            <a:extLst>
              <a:ext uri="{FF2B5EF4-FFF2-40B4-BE49-F238E27FC236}">
                <a16:creationId xmlns:a16="http://schemas.microsoft.com/office/drawing/2014/main" id="{0E07319C-9A3D-6A49-8F17-E79484E38275}"/>
              </a:ext>
            </a:extLst>
          </p:cNvPr>
          <p:cNvSpPr>
            <a:spLocks noGrp="1"/>
          </p:cNvSpPr>
          <p:nvPr>
            <p:ph type="body" idx="1" hasCustomPrompt="1"/>
          </p:nvPr>
        </p:nvSpPr>
        <p:spPr>
          <a:xfrm>
            <a:off x="609602" y="2987041"/>
            <a:ext cx="3780365" cy="608356"/>
          </a:xfrm>
        </p:spPr>
        <p:txBody>
          <a:bodyPr>
            <a:noAutofit/>
          </a:bodyPr>
          <a:lstStyle>
            <a:lvl1pPr marL="0" indent="0">
              <a:spcBef>
                <a:spcPts val="0"/>
              </a:spcBef>
              <a:buNone/>
              <a:defRPr sz="1333" cap="none" baseline="0">
                <a:solidFill>
                  <a:schemeClr val="tx2"/>
                </a:solidFill>
              </a:defRPr>
            </a:lvl1pPr>
            <a:lvl2pPr marL="0" indent="0">
              <a:spcBef>
                <a:spcPts val="0"/>
              </a:spcBef>
              <a:buNone/>
              <a:defRPr sz="1333" cap="all" baseline="0">
                <a:solidFill>
                  <a:schemeClr val="tx2"/>
                </a:solidFill>
              </a:defRPr>
            </a:lvl2pPr>
            <a:lvl3pPr marL="0" indent="0">
              <a:spcBef>
                <a:spcPts val="0"/>
              </a:spcBef>
              <a:buNone/>
              <a:defRPr sz="1333" cap="all" baseline="0">
                <a:solidFill>
                  <a:schemeClr val="tx2"/>
                </a:solidFill>
              </a:defRPr>
            </a:lvl3pPr>
            <a:lvl4pPr marL="0" indent="0">
              <a:spcBef>
                <a:spcPts val="0"/>
              </a:spcBef>
              <a:buNone/>
              <a:defRPr sz="1333" cap="all" baseline="0">
                <a:solidFill>
                  <a:schemeClr val="tx2"/>
                </a:solidFill>
              </a:defRPr>
            </a:lvl4pPr>
            <a:lvl5pPr marL="0" indent="0">
              <a:spcBef>
                <a:spcPts val="0"/>
              </a:spcBef>
              <a:buNone/>
              <a:defRPr sz="1333" cap="all" baseline="0">
                <a:solidFill>
                  <a:schemeClr val="tx2"/>
                </a:solidFill>
              </a:defRPr>
            </a:lvl5pPr>
            <a:lvl6pPr marL="0" indent="0">
              <a:spcBef>
                <a:spcPts val="0"/>
              </a:spcBef>
              <a:buNone/>
              <a:defRPr sz="1333" cap="all" baseline="0">
                <a:solidFill>
                  <a:schemeClr val="tx2"/>
                </a:solidFill>
              </a:defRPr>
            </a:lvl6pPr>
            <a:lvl7pPr marL="0" indent="0">
              <a:spcBef>
                <a:spcPts val="0"/>
              </a:spcBef>
              <a:buNone/>
              <a:defRPr sz="1333" cap="all" baseline="0">
                <a:solidFill>
                  <a:schemeClr val="tx2"/>
                </a:solidFill>
              </a:defRPr>
            </a:lvl7pPr>
            <a:lvl8pPr marL="0" indent="0">
              <a:spcBef>
                <a:spcPts val="0"/>
              </a:spcBef>
              <a:buNone/>
              <a:defRPr sz="1333" cap="all" baseline="0">
                <a:solidFill>
                  <a:schemeClr val="tx2"/>
                </a:solidFill>
              </a:defRPr>
            </a:lvl8pPr>
            <a:lvl9pPr marL="0" indent="0">
              <a:spcBef>
                <a:spcPts val="0"/>
              </a:spcBef>
              <a:buNone/>
              <a:defRPr sz="1333" cap="all" baseline="0">
                <a:solidFill>
                  <a:schemeClr val="tx2"/>
                </a:solidFill>
              </a:defRPr>
            </a:lvl9pPr>
          </a:lstStyle>
          <a:p>
            <a:pPr lvl="0"/>
            <a:r>
              <a:rPr lang="en-US"/>
              <a:t>Optional subtitle</a:t>
            </a:r>
          </a:p>
        </p:txBody>
      </p:sp>
    </p:spTree>
    <p:extLst>
      <p:ext uri="{BB962C8B-B14F-4D97-AF65-F5344CB8AC3E}">
        <p14:creationId xmlns:p14="http://schemas.microsoft.com/office/powerpoint/2010/main" val="1968979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03 White">
    <p:spTree>
      <p:nvGrpSpPr>
        <p:cNvPr id="1" name=""/>
        <p:cNvGrpSpPr/>
        <p:nvPr/>
      </p:nvGrpSpPr>
      <p:grpSpPr>
        <a:xfrm>
          <a:off x="0" y="0"/>
          <a:ext cx="0" cy="0"/>
          <a:chOff x="0" y="0"/>
          <a:chExt cx="0" cy="0"/>
        </a:xfrm>
      </p:grpSpPr>
      <p:sp>
        <p:nvSpPr>
          <p:cNvPr id="7" name="Freeform 5"/>
          <p:cNvSpPr>
            <a:spLocks noEditPoints="1"/>
          </p:cNvSpPr>
          <p:nvPr userDrawn="1"/>
        </p:nvSpPr>
        <p:spPr bwMode="hidden">
          <a:xfrm>
            <a:off x="0" y="0"/>
            <a:ext cx="12192000" cy="6858000"/>
          </a:xfrm>
          <a:custGeom>
            <a:avLst/>
            <a:gdLst>
              <a:gd name="T0" fmla="*/ 17163 w 19200"/>
              <a:gd name="T1" fmla="*/ 6575 h 10809"/>
              <a:gd name="T2" fmla="*/ 17052 w 19200"/>
              <a:gd name="T3" fmla="*/ 6382 h 10809"/>
              <a:gd name="T4" fmla="*/ 18502 w 19200"/>
              <a:gd name="T5" fmla="*/ 6504 h 10809"/>
              <a:gd name="T6" fmla="*/ 19080 w 19200"/>
              <a:gd name="T7" fmla="*/ 6835 h 10809"/>
              <a:gd name="T8" fmla="*/ 3072 w 19200"/>
              <a:gd name="T9" fmla="*/ 5298 h 10809"/>
              <a:gd name="T10" fmla="*/ 3164 w 19200"/>
              <a:gd name="T11" fmla="*/ 5603 h 10809"/>
              <a:gd name="T12" fmla="*/ 7795 w 19200"/>
              <a:gd name="T13" fmla="*/ 0 h 10809"/>
              <a:gd name="T14" fmla="*/ 10034 w 19200"/>
              <a:gd name="T15" fmla="*/ 0 h 10809"/>
              <a:gd name="T16" fmla="*/ 15218 w 19200"/>
              <a:gd name="T17" fmla="*/ 3216 h 10809"/>
              <a:gd name="T18" fmla="*/ 16154 w 19200"/>
              <a:gd name="T19" fmla="*/ 3362 h 10809"/>
              <a:gd name="T20" fmla="*/ 10633 w 19200"/>
              <a:gd name="T21" fmla="*/ 2356 h 10809"/>
              <a:gd name="T22" fmla="*/ 12001 w 19200"/>
              <a:gd name="T23" fmla="*/ 770 h 10809"/>
              <a:gd name="T24" fmla="*/ 13981 w 19200"/>
              <a:gd name="T25" fmla="*/ 827 h 10809"/>
              <a:gd name="T26" fmla="*/ 6291 w 19200"/>
              <a:gd name="T27" fmla="*/ 5727 h 10809"/>
              <a:gd name="T28" fmla="*/ 6291 w 19200"/>
              <a:gd name="T29" fmla="*/ 9042 h 10809"/>
              <a:gd name="T30" fmla="*/ 5190 w 19200"/>
              <a:gd name="T31" fmla="*/ 2655 h 10809"/>
              <a:gd name="T32" fmla="*/ 4159 w 19200"/>
              <a:gd name="T33" fmla="*/ 7282 h 10809"/>
              <a:gd name="T34" fmla="*/ 3462 w 19200"/>
              <a:gd name="T35" fmla="*/ 7576 h 10809"/>
              <a:gd name="T36" fmla="*/ 4973 w 19200"/>
              <a:gd name="T37" fmla="*/ 0 h 10809"/>
              <a:gd name="T38" fmla="*/ 15381 w 19200"/>
              <a:gd name="T39" fmla="*/ 6525 h 10809"/>
              <a:gd name="T40" fmla="*/ 16342 w 19200"/>
              <a:gd name="T41" fmla="*/ 5679 h 10809"/>
              <a:gd name="T42" fmla="*/ 12099 w 19200"/>
              <a:gd name="T43" fmla="*/ 5524 h 10809"/>
              <a:gd name="T44" fmla="*/ 12569 w 19200"/>
              <a:gd name="T45" fmla="*/ 6527 h 10809"/>
              <a:gd name="T46" fmla="*/ 6418 w 19200"/>
              <a:gd name="T47" fmla="*/ 6864 h 10809"/>
              <a:gd name="T48" fmla="*/ 5498 w 19200"/>
              <a:gd name="T49" fmla="*/ 8069 h 10809"/>
              <a:gd name="T50" fmla="*/ 10735 w 19200"/>
              <a:gd name="T51" fmla="*/ 5754 h 10809"/>
              <a:gd name="T52" fmla="*/ 14267 w 19200"/>
              <a:gd name="T53" fmla="*/ 6393 h 10809"/>
              <a:gd name="T54" fmla="*/ 14072 w 19200"/>
              <a:gd name="T55" fmla="*/ 6389 h 10809"/>
              <a:gd name="T56" fmla="*/ 7025 w 19200"/>
              <a:gd name="T57" fmla="*/ 7878 h 10809"/>
              <a:gd name="T58" fmla="*/ 8797 w 19200"/>
              <a:gd name="T59" fmla="*/ 6737 h 10809"/>
              <a:gd name="T60" fmla="*/ 8778 w 19200"/>
              <a:gd name="T61" fmla="*/ 7285 h 10809"/>
              <a:gd name="T62" fmla="*/ 9851 w 19200"/>
              <a:gd name="T63" fmla="*/ 7472 h 10809"/>
              <a:gd name="T64" fmla="*/ 1599 w 19200"/>
              <a:gd name="T65" fmla="*/ 2604 h 10809"/>
              <a:gd name="T66" fmla="*/ 6619 w 19200"/>
              <a:gd name="T67" fmla="*/ 10090 h 10809"/>
              <a:gd name="T68" fmla="*/ 3374 w 19200"/>
              <a:gd name="T69" fmla="*/ 9872 h 10809"/>
              <a:gd name="T70" fmla="*/ 0 w 19200"/>
              <a:gd name="T71" fmla="*/ 8877 h 10809"/>
              <a:gd name="T72" fmla="*/ 1259 w 19200"/>
              <a:gd name="T73" fmla="*/ 10809 h 10809"/>
              <a:gd name="T74" fmla="*/ 906 w 19200"/>
              <a:gd name="T75" fmla="*/ 8456 h 10809"/>
              <a:gd name="T76" fmla="*/ 6086 w 19200"/>
              <a:gd name="T77" fmla="*/ 3235 h 10809"/>
              <a:gd name="T78" fmla="*/ 3904 w 19200"/>
              <a:gd name="T79" fmla="*/ 1884 h 10809"/>
              <a:gd name="T80" fmla="*/ 7711 w 19200"/>
              <a:gd name="T81" fmla="*/ 3891 h 10809"/>
              <a:gd name="T82" fmla="*/ 3270 w 19200"/>
              <a:gd name="T83" fmla="*/ 1249 h 10809"/>
              <a:gd name="T84" fmla="*/ 3058 w 19200"/>
              <a:gd name="T85" fmla="*/ 10809 h 10809"/>
              <a:gd name="T86" fmla="*/ 13980 w 19200"/>
              <a:gd name="T87" fmla="*/ 8057 h 10809"/>
              <a:gd name="T88" fmla="*/ 19200 w 19200"/>
              <a:gd name="T89" fmla="*/ 4981 h 10809"/>
              <a:gd name="T90" fmla="*/ 17513 w 19200"/>
              <a:gd name="T91" fmla="*/ 4091 h 10809"/>
              <a:gd name="T92" fmla="*/ 8446 w 19200"/>
              <a:gd name="T93" fmla="*/ 3297 h 10809"/>
              <a:gd name="T94" fmla="*/ 4176 w 19200"/>
              <a:gd name="T95" fmla="*/ 0 h 10809"/>
              <a:gd name="T96" fmla="*/ 5794 w 19200"/>
              <a:gd name="T97" fmla="*/ 4268 h 10809"/>
              <a:gd name="T98" fmla="*/ 2572 w 19200"/>
              <a:gd name="T99" fmla="*/ 0 h 10809"/>
              <a:gd name="T100" fmla="*/ 4401 w 19200"/>
              <a:gd name="T101" fmla="*/ 10809 h 10809"/>
              <a:gd name="T102" fmla="*/ 10301 w 19200"/>
              <a:gd name="T103" fmla="*/ 3256 h 10809"/>
              <a:gd name="T104" fmla="*/ 16105 w 19200"/>
              <a:gd name="T105" fmla="*/ 8817 h 10809"/>
              <a:gd name="T106" fmla="*/ 13876 w 19200"/>
              <a:gd name="T107" fmla="*/ 10393 h 10809"/>
              <a:gd name="T108" fmla="*/ 17179 w 19200"/>
              <a:gd name="T109" fmla="*/ 2356 h 10809"/>
              <a:gd name="T110" fmla="*/ 12942 w 19200"/>
              <a:gd name="T111" fmla="*/ 10809 h 10809"/>
              <a:gd name="T112" fmla="*/ 14929 w 19200"/>
              <a:gd name="T113" fmla="*/ 10474 h 10809"/>
              <a:gd name="T114" fmla="*/ 17374 w 19200"/>
              <a:gd name="T115" fmla="*/ 9309 h 10809"/>
              <a:gd name="T116" fmla="*/ 8709 w 19200"/>
              <a:gd name="T117" fmla="*/ 9862 h 10809"/>
              <a:gd name="T118" fmla="*/ 10755 w 19200"/>
              <a:gd name="T119" fmla="*/ 10809 h 10809"/>
              <a:gd name="T120" fmla="*/ 12001 w 19200"/>
              <a:gd name="T121" fmla="*/ 10760 h 10809"/>
              <a:gd name="T122" fmla="*/ 12825 w 19200"/>
              <a:gd name="T123" fmla="*/ 10514 h 10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00" h="10809">
                <a:moveTo>
                  <a:pt x="9021" y="0"/>
                </a:moveTo>
                <a:lnTo>
                  <a:pt x="9021" y="0"/>
                </a:lnTo>
                <a:lnTo>
                  <a:pt x="8809" y="0"/>
                </a:lnTo>
                <a:lnTo>
                  <a:pt x="8249" y="2990"/>
                </a:lnTo>
                <a:cubicBezTo>
                  <a:pt x="8339" y="2985"/>
                  <a:pt x="8394" y="2984"/>
                  <a:pt x="8463" y="2984"/>
                </a:cubicBezTo>
                <a:lnTo>
                  <a:pt x="9021" y="0"/>
                </a:lnTo>
                <a:close/>
                <a:moveTo>
                  <a:pt x="16748" y="6933"/>
                </a:moveTo>
                <a:lnTo>
                  <a:pt x="16748" y="6933"/>
                </a:lnTo>
                <a:lnTo>
                  <a:pt x="17163" y="6575"/>
                </a:lnTo>
                <a:lnTo>
                  <a:pt x="17538" y="7226"/>
                </a:lnTo>
                <a:lnTo>
                  <a:pt x="17853" y="7362"/>
                </a:lnTo>
                <a:lnTo>
                  <a:pt x="17341" y="6464"/>
                </a:lnTo>
                <a:lnTo>
                  <a:pt x="17810" y="6054"/>
                </a:lnTo>
                <a:lnTo>
                  <a:pt x="17581" y="5960"/>
                </a:lnTo>
                <a:lnTo>
                  <a:pt x="17233" y="6274"/>
                </a:lnTo>
                <a:lnTo>
                  <a:pt x="16874" y="5644"/>
                </a:lnTo>
                <a:cubicBezTo>
                  <a:pt x="16773" y="5608"/>
                  <a:pt x="16671" y="5572"/>
                  <a:pt x="16566" y="5538"/>
                </a:cubicBezTo>
                <a:lnTo>
                  <a:pt x="17052" y="6382"/>
                </a:lnTo>
                <a:lnTo>
                  <a:pt x="16525" y="6851"/>
                </a:lnTo>
                <a:cubicBezTo>
                  <a:pt x="16600" y="6877"/>
                  <a:pt x="16675" y="6905"/>
                  <a:pt x="16748" y="6933"/>
                </a:cubicBezTo>
                <a:close/>
                <a:moveTo>
                  <a:pt x="19200" y="250"/>
                </a:moveTo>
                <a:lnTo>
                  <a:pt x="19200" y="250"/>
                </a:lnTo>
                <a:lnTo>
                  <a:pt x="19153" y="0"/>
                </a:lnTo>
                <a:lnTo>
                  <a:pt x="18940" y="0"/>
                </a:lnTo>
                <a:lnTo>
                  <a:pt x="19200" y="1387"/>
                </a:lnTo>
                <a:lnTo>
                  <a:pt x="19200" y="250"/>
                </a:lnTo>
                <a:close/>
                <a:moveTo>
                  <a:pt x="18502" y="6504"/>
                </a:moveTo>
                <a:lnTo>
                  <a:pt x="18502" y="6504"/>
                </a:lnTo>
                <a:lnTo>
                  <a:pt x="18257" y="6427"/>
                </a:lnTo>
                <a:lnTo>
                  <a:pt x="18257" y="6810"/>
                </a:lnTo>
                <a:lnTo>
                  <a:pt x="18502" y="6887"/>
                </a:lnTo>
                <a:cubicBezTo>
                  <a:pt x="18722" y="6959"/>
                  <a:pt x="18867" y="6983"/>
                  <a:pt x="18867" y="6798"/>
                </a:cubicBezTo>
                <a:cubicBezTo>
                  <a:pt x="18867" y="6649"/>
                  <a:pt x="18728" y="6578"/>
                  <a:pt x="18502" y="6504"/>
                </a:cubicBezTo>
                <a:close/>
                <a:moveTo>
                  <a:pt x="18689" y="6358"/>
                </a:moveTo>
                <a:lnTo>
                  <a:pt x="18689" y="6358"/>
                </a:lnTo>
                <a:cubicBezTo>
                  <a:pt x="18957" y="6473"/>
                  <a:pt x="19080" y="6612"/>
                  <a:pt x="19080" y="6835"/>
                </a:cubicBezTo>
                <a:cubicBezTo>
                  <a:pt x="19080" y="7033"/>
                  <a:pt x="18908" y="7224"/>
                  <a:pt x="18522" y="7097"/>
                </a:cubicBezTo>
                <a:lnTo>
                  <a:pt x="18257" y="7011"/>
                </a:lnTo>
                <a:lnTo>
                  <a:pt x="18257" y="7520"/>
                </a:lnTo>
                <a:lnTo>
                  <a:pt x="18044" y="7440"/>
                </a:lnTo>
                <a:lnTo>
                  <a:pt x="18044" y="6140"/>
                </a:lnTo>
                <a:cubicBezTo>
                  <a:pt x="18479" y="6275"/>
                  <a:pt x="18614" y="6328"/>
                  <a:pt x="18689" y="6358"/>
                </a:cubicBezTo>
                <a:close/>
                <a:moveTo>
                  <a:pt x="6291" y="6258"/>
                </a:moveTo>
                <a:lnTo>
                  <a:pt x="6291" y="6258"/>
                </a:lnTo>
                <a:cubicBezTo>
                  <a:pt x="5059" y="6257"/>
                  <a:pt x="4031" y="5910"/>
                  <a:pt x="3072" y="5298"/>
                </a:cubicBezTo>
                <a:lnTo>
                  <a:pt x="2054" y="7565"/>
                </a:lnTo>
                <a:cubicBezTo>
                  <a:pt x="3391" y="8342"/>
                  <a:pt x="4795" y="8720"/>
                  <a:pt x="6291" y="8720"/>
                </a:cubicBezTo>
                <a:cubicBezTo>
                  <a:pt x="10201" y="8720"/>
                  <a:pt x="11122" y="6997"/>
                  <a:pt x="13980" y="6997"/>
                </a:cubicBezTo>
                <a:cubicBezTo>
                  <a:pt x="16116" y="6997"/>
                  <a:pt x="17171" y="7959"/>
                  <a:pt x="19200" y="8446"/>
                </a:cubicBezTo>
                <a:lnTo>
                  <a:pt x="19200" y="8231"/>
                </a:lnTo>
                <a:cubicBezTo>
                  <a:pt x="17207" y="7743"/>
                  <a:pt x="16161" y="6788"/>
                  <a:pt x="13980" y="6788"/>
                </a:cubicBezTo>
                <a:cubicBezTo>
                  <a:pt x="11051" y="6788"/>
                  <a:pt x="10170" y="8511"/>
                  <a:pt x="6291" y="8511"/>
                </a:cubicBezTo>
                <a:cubicBezTo>
                  <a:pt x="4888" y="8511"/>
                  <a:pt x="3518" y="8155"/>
                  <a:pt x="2322" y="7479"/>
                </a:cubicBezTo>
                <a:lnTo>
                  <a:pt x="3164" y="5603"/>
                </a:lnTo>
                <a:cubicBezTo>
                  <a:pt x="4092" y="6168"/>
                  <a:pt x="5171" y="6466"/>
                  <a:pt x="6291" y="6466"/>
                </a:cubicBezTo>
                <a:cubicBezTo>
                  <a:pt x="9740" y="6466"/>
                  <a:pt x="10436" y="4743"/>
                  <a:pt x="13981" y="4743"/>
                </a:cubicBezTo>
                <a:cubicBezTo>
                  <a:pt x="16483" y="4743"/>
                  <a:pt x="17566" y="5602"/>
                  <a:pt x="19200" y="6107"/>
                </a:cubicBezTo>
                <a:lnTo>
                  <a:pt x="19200" y="5888"/>
                </a:lnTo>
                <a:cubicBezTo>
                  <a:pt x="17600" y="5382"/>
                  <a:pt x="16508" y="4534"/>
                  <a:pt x="13981" y="4534"/>
                </a:cubicBezTo>
                <a:cubicBezTo>
                  <a:pt x="10376" y="4534"/>
                  <a:pt x="9693" y="6258"/>
                  <a:pt x="6291" y="6258"/>
                </a:cubicBezTo>
                <a:close/>
                <a:moveTo>
                  <a:pt x="8009" y="0"/>
                </a:moveTo>
                <a:lnTo>
                  <a:pt x="8009" y="0"/>
                </a:lnTo>
                <a:lnTo>
                  <a:pt x="7795" y="0"/>
                </a:lnTo>
                <a:lnTo>
                  <a:pt x="7044" y="3345"/>
                </a:lnTo>
                <a:cubicBezTo>
                  <a:pt x="7120" y="3303"/>
                  <a:pt x="7200" y="3261"/>
                  <a:pt x="7286" y="3221"/>
                </a:cubicBezTo>
                <a:lnTo>
                  <a:pt x="8009" y="0"/>
                </a:lnTo>
                <a:close/>
                <a:moveTo>
                  <a:pt x="10034" y="0"/>
                </a:moveTo>
                <a:lnTo>
                  <a:pt x="10034" y="0"/>
                </a:lnTo>
                <a:lnTo>
                  <a:pt x="9822" y="0"/>
                </a:lnTo>
                <a:lnTo>
                  <a:pt x="9390" y="2891"/>
                </a:lnTo>
                <a:cubicBezTo>
                  <a:pt x="9466" y="2819"/>
                  <a:pt x="9546" y="2751"/>
                  <a:pt x="9631" y="2688"/>
                </a:cubicBezTo>
                <a:lnTo>
                  <a:pt x="10034" y="0"/>
                </a:lnTo>
                <a:close/>
                <a:moveTo>
                  <a:pt x="6997" y="0"/>
                </a:moveTo>
                <a:lnTo>
                  <a:pt x="6997" y="0"/>
                </a:lnTo>
                <a:lnTo>
                  <a:pt x="6780" y="0"/>
                </a:lnTo>
                <a:lnTo>
                  <a:pt x="6126" y="2498"/>
                </a:lnTo>
                <a:cubicBezTo>
                  <a:pt x="6194" y="2494"/>
                  <a:pt x="6267" y="2491"/>
                  <a:pt x="6344" y="2490"/>
                </a:cubicBezTo>
                <a:lnTo>
                  <a:pt x="6997" y="0"/>
                </a:lnTo>
                <a:close/>
                <a:moveTo>
                  <a:pt x="15009" y="3195"/>
                </a:moveTo>
                <a:lnTo>
                  <a:pt x="15009" y="3195"/>
                </a:lnTo>
                <a:cubicBezTo>
                  <a:pt x="15080" y="3201"/>
                  <a:pt x="15150" y="3208"/>
                  <a:pt x="15218" y="3216"/>
                </a:cubicBezTo>
                <a:lnTo>
                  <a:pt x="15136" y="1017"/>
                </a:lnTo>
                <a:cubicBezTo>
                  <a:pt x="15068" y="1032"/>
                  <a:pt x="14998" y="1045"/>
                  <a:pt x="14929" y="1057"/>
                </a:cubicBezTo>
                <a:lnTo>
                  <a:pt x="15009" y="3195"/>
                </a:lnTo>
                <a:close/>
                <a:moveTo>
                  <a:pt x="16154" y="3362"/>
                </a:moveTo>
                <a:lnTo>
                  <a:pt x="16154" y="3362"/>
                </a:lnTo>
                <a:cubicBezTo>
                  <a:pt x="16226" y="3377"/>
                  <a:pt x="16297" y="3393"/>
                  <a:pt x="16367" y="3409"/>
                </a:cubicBezTo>
                <a:lnTo>
                  <a:pt x="16163" y="687"/>
                </a:lnTo>
                <a:cubicBezTo>
                  <a:pt x="16096" y="717"/>
                  <a:pt x="16028" y="744"/>
                  <a:pt x="15960" y="770"/>
                </a:cubicBezTo>
                <a:lnTo>
                  <a:pt x="16154" y="3362"/>
                </a:lnTo>
                <a:close/>
                <a:moveTo>
                  <a:pt x="13876" y="1137"/>
                </a:moveTo>
                <a:lnTo>
                  <a:pt x="13876" y="1137"/>
                </a:lnTo>
                <a:lnTo>
                  <a:pt x="13876" y="3152"/>
                </a:lnTo>
                <a:cubicBezTo>
                  <a:pt x="13911" y="3152"/>
                  <a:pt x="13945" y="3151"/>
                  <a:pt x="13981" y="3151"/>
                </a:cubicBezTo>
                <a:cubicBezTo>
                  <a:pt x="14016" y="3151"/>
                  <a:pt x="14050" y="3152"/>
                  <a:pt x="14085" y="3152"/>
                </a:cubicBezTo>
                <a:lnTo>
                  <a:pt x="14085" y="1137"/>
                </a:lnTo>
                <a:cubicBezTo>
                  <a:pt x="14050" y="1138"/>
                  <a:pt x="14016" y="1140"/>
                  <a:pt x="13981" y="1140"/>
                </a:cubicBezTo>
                <a:cubicBezTo>
                  <a:pt x="13945" y="1140"/>
                  <a:pt x="13911" y="1138"/>
                  <a:pt x="13876" y="1137"/>
                </a:cubicBezTo>
                <a:close/>
                <a:moveTo>
                  <a:pt x="10633" y="2356"/>
                </a:moveTo>
                <a:lnTo>
                  <a:pt x="10633" y="2356"/>
                </a:lnTo>
                <a:lnTo>
                  <a:pt x="10782" y="2356"/>
                </a:lnTo>
                <a:lnTo>
                  <a:pt x="11016" y="269"/>
                </a:lnTo>
                <a:cubicBezTo>
                  <a:pt x="10950" y="226"/>
                  <a:pt x="10885" y="182"/>
                  <a:pt x="10821" y="137"/>
                </a:cubicBezTo>
                <a:lnTo>
                  <a:pt x="10571" y="2358"/>
                </a:lnTo>
                <a:cubicBezTo>
                  <a:pt x="10592" y="2358"/>
                  <a:pt x="10612" y="2356"/>
                  <a:pt x="10633" y="2356"/>
                </a:cubicBezTo>
                <a:close/>
                <a:moveTo>
                  <a:pt x="11807" y="3362"/>
                </a:moveTo>
                <a:lnTo>
                  <a:pt x="11807" y="3362"/>
                </a:lnTo>
                <a:lnTo>
                  <a:pt x="12001" y="770"/>
                </a:lnTo>
                <a:cubicBezTo>
                  <a:pt x="11933" y="744"/>
                  <a:pt x="11865" y="717"/>
                  <a:pt x="11798" y="687"/>
                </a:cubicBezTo>
                <a:lnTo>
                  <a:pt x="11594" y="3409"/>
                </a:lnTo>
                <a:cubicBezTo>
                  <a:pt x="11664" y="3393"/>
                  <a:pt x="11735" y="3378"/>
                  <a:pt x="11807" y="3362"/>
                </a:cubicBezTo>
                <a:close/>
                <a:moveTo>
                  <a:pt x="16377" y="0"/>
                </a:moveTo>
                <a:lnTo>
                  <a:pt x="16377" y="0"/>
                </a:lnTo>
                <a:cubicBezTo>
                  <a:pt x="15666" y="393"/>
                  <a:pt x="14849" y="618"/>
                  <a:pt x="13981" y="618"/>
                </a:cubicBezTo>
                <a:cubicBezTo>
                  <a:pt x="13112" y="618"/>
                  <a:pt x="12295" y="393"/>
                  <a:pt x="11584" y="0"/>
                </a:cubicBezTo>
                <a:lnTo>
                  <a:pt x="11174" y="0"/>
                </a:lnTo>
                <a:cubicBezTo>
                  <a:pt x="11982" y="522"/>
                  <a:pt x="12946" y="827"/>
                  <a:pt x="13981" y="827"/>
                </a:cubicBezTo>
                <a:cubicBezTo>
                  <a:pt x="15015" y="827"/>
                  <a:pt x="15979" y="522"/>
                  <a:pt x="16787" y="0"/>
                </a:cubicBezTo>
                <a:lnTo>
                  <a:pt x="16377" y="0"/>
                </a:lnTo>
                <a:close/>
                <a:moveTo>
                  <a:pt x="12952" y="3195"/>
                </a:moveTo>
                <a:lnTo>
                  <a:pt x="12952" y="3195"/>
                </a:lnTo>
                <a:lnTo>
                  <a:pt x="13032" y="1057"/>
                </a:lnTo>
                <a:cubicBezTo>
                  <a:pt x="12963" y="1045"/>
                  <a:pt x="12893" y="1032"/>
                  <a:pt x="12825" y="1017"/>
                </a:cubicBezTo>
                <a:lnTo>
                  <a:pt x="12743" y="3216"/>
                </a:lnTo>
                <a:cubicBezTo>
                  <a:pt x="12811" y="3208"/>
                  <a:pt x="12881" y="3201"/>
                  <a:pt x="12952" y="3195"/>
                </a:cubicBezTo>
                <a:close/>
                <a:moveTo>
                  <a:pt x="6291" y="5727"/>
                </a:moveTo>
                <a:lnTo>
                  <a:pt x="6291" y="5727"/>
                </a:lnTo>
                <a:cubicBezTo>
                  <a:pt x="4914" y="5727"/>
                  <a:pt x="3700" y="5258"/>
                  <a:pt x="2633" y="4258"/>
                </a:cubicBezTo>
                <a:lnTo>
                  <a:pt x="1232" y="7663"/>
                </a:lnTo>
                <a:cubicBezTo>
                  <a:pt x="2786" y="8739"/>
                  <a:pt x="4492" y="9251"/>
                  <a:pt x="6291" y="9251"/>
                </a:cubicBezTo>
                <a:cubicBezTo>
                  <a:pt x="10232" y="9251"/>
                  <a:pt x="11352" y="7527"/>
                  <a:pt x="13980" y="7527"/>
                </a:cubicBezTo>
                <a:cubicBezTo>
                  <a:pt x="15959" y="7527"/>
                  <a:pt x="17083" y="8504"/>
                  <a:pt x="19200" y="8987"/>
                </a:cubicBezTo>
                <a:lnTo>
                  <a:pt x="19200" y="8771"/>
                </a:lnTo>
                <a:cubicBezTo>
                  <a:pt x="17122" y="8286"/>
                  <a:pt x="15995" y="7318"/>
                  <a:pt x="13980" y="7318"/>
                </a:cubicBezTo>
                <a:cubicBezTo>
                  <a:pt x="11294" y="7318"/>
                  <a:pt x="10185" y="9042"/>
                  <a:pt x="6291" y="9042"/>
                </a:cubicBezTo>
                <a:cubicBezTo>
                  <a:pt x="4553" y="9042"/>
                  <a:pt x="2895" y="8539"/>
                  <a:pt x="1490" y="7586"/>
                </a:cubicBezTo>
                <a:lnTo>
                  <a:pt x="2712" y="4615"/>
                </a:lnTo>
                <a:cubicBezTo>
                  <a:pt x="3676" y="5468"/>
                  <a:pt x="4941" y="5936"/>
                  <a:pt x="6291" y="5936"/>
                </a:cubicBezTo>
                <a:cubicBezTo>
                  <a:pt x="9615" y="5936"/>
                  <a:pt x="10290" y="4213"/>
                  <a:pt x="13981" y="4213"/>
                </a:cubicBezTo>
                <a:cubicBezTo>
                  <a:pt x="16541" y="4213"/>
                  <a:pt x="17650" y="5042"/>
                  <a:pt x="19200" y="5550"/>
                </a:cubicBezTo>
                <a:lnTo>
                  <a:pt x="19200" y="5329"/>
                </a:lnTo>
                <a:cubicBezTo>
                  <a:pt x="17682" y="4820"/>
                  <a:pt x="16555" y="4004"/>
                  <a:pt x="13981" y="4004"/>
                </a:cubicBezTo>
                <a:cubicBezTo>
                  <a:pt x="10242" y="4004"/>
                  <a:pt x="9554" y="5727"/>
                  <a:pt x="6291" y="5727"/>
                </a:cubicBezTo>
                <a:close/>
                <a:moveTo>
                  <a:pt x="5190" y="2655"/>
                </a:moveTo>
                <a:lnTo>
                  <a:pt x="5190" y="2655"/>
                </a:lnTo>
                <a:lnTo>
                  <a:pt x="5984" y="0"/>
                </a:lnTo>
                <a:lnTo>
                  <a:pt x="5766" y="0"/>
                </a:lnTo>
                <a:lnTo>
                  <a:pt x="4962" y="2689"/>
                </a:lnTo>
                <a:cubicBezTo>
                  <a:pt x="5039" y="2682"/>
                  <a:pt x="5114" y="2670"/>
                  <a:pt x="5190" y="2655"/>
                </a:cubicBezTo>
                <a:close/>
                <a:moveTo>
                  <a:pt x="3906" y="6587"/>
                </a:moveTo>
                <a:lnTo>
                  <a:pt x="3906" y="6587"/>
                </a:lnTo>
                <a:cubicBezTo>
                  <a:pt x="3891" y="6624"/>
                  <a:pt x="3785" y="6860"/>
                  <a:pt x="3679" y="7096"/>
                </a:cubicBezTo>
                <a:cubicBezTo>
                  <a:pt x="3839" y="7165"/>
                  <a:pt x="3999" y="7227"/>
                  <a:pt x="4159" y="7282"/>
                </a:cubicBezTo>
                <a:lnTo>
                  <a:pt x="3906" y="6587"/>
                </a:lnTo>
                <a:close/>
                <a:moveTo>
                  <a:pt x="3786" y="6365"/>
                </a:moveTo>
                <a:lnTo>
                  <a:pt x="3786" y="6365"/>
                </a:lnTo>
                <a:cubicBezTo>
                  <a:pt x="3889" y="6408"/>
                  <a:pt x="3992" y="6449"/>
                  <a:pt x="4098" y="6486"/>
                </a:cubicBezTo>
                <a:lnTo>
                  <a:pt x="4618" y="7928"/>
                </a:lnTo>
                <a:cubicBezTo>
                  <a:pt x="4535" y="7910"/>
                  <a:pt x="4454" y="7890"/>
                  <a:pt x="4372" y="7869"/>
                </a:cubicBezTo>
                <a:lnTo>
                  <a:pt x="4242" y="7513"/>
                </a:lnTo>
                <a:cubicBezTo>
                  <a:pt x="4028" y="7445"/>
                  <a:pt x="3813" y="7366"/>
                  <a:pt x="3598" y="7275"/>
                </a:cubicBezTo>
                <a:cubicBezTo>
                  <a:pt x="3539" y="7405"/>
                  <a:pt x="3488" y="7518"/>
                  <a:pt x="3462" y="7576"/>
                </a:cubicBezTo>
                <a:cubicBezTo>
                  <a:pt x="3396" y="7550"/>
                  <a:pt x="3330" y="7526"/>
                  <a:pt x="3265" y="7499"/>
                </a:cubicBezTo>
                <a:lnTo>
                  <a:pt x="3786" y="6365"/>
                </a:lnTo>
                <a:close/>
                <a:moveTo>
                  <a:pt x="0" y="4705"/>
                </a:moveTo>
                <a:lnTo>
                  <a:pt x="0" y="4705"/>
                </a:lnTo>
                <a:lnTo>
                  <a:pt x="1407" y="0"/>
                </a:lnTo>
                <a:lnTo>
                  <a:pt x="1189" y="0"/>
                </a:lnTo>
                <a:lnTo>
                  <a:pt x="0" y="3976"/>
                </a:lnTo>
                <a:lnTo>
                  <a:pt x="0" y="4705"/>
                </a:lnTo>
                <a:close/>
                <a:moveTo>
                  <a:pt x="4973" y="0"/>
                </a:moveTo>
                <a:lnTo>
                  <a:pt x="4973" y="0"/>
                </a:lnTo>
                <a:lnTo>
                  <a:pt x="4942" y="0"/>
                </a:lnTo>
                <a:cubicBezTo>
                  <a:pt x="4949" y="8"/>
                  <a:pt x="4957" y="17"/>
                  <a:pt x="4964" y="26"/>
                </a:cubicBezTo>
                <a:lnTo>
                  <a:pt x="4973" y="0"/>
                </a:lnTo>
                <a:close/>
                <a:moveTo>
                  <a:pt x="16342" y="5679"/>
                </a:moveTo>
                <a:lnTo>
                  <a:pt x="16342" y="5679"/>
                </a:lnTo>
                <a:cubicBezTo>
                  <a:pt x="16341" y="5608"/>
                  <a:pt x="16340" y="5537"/>
                  <a:pt x="16338" y="5466"/>
                </a:cubicBezTo>
                <a:cubicBezTo>
                  <a:pt x="16042" y="5378"/>
                  <a:pt x="15728" y="5303"/>
                  <a:pt x="15381" y="5248"/>
                </a:cubicBezTo>
                <a:lnTo>
                  <a:pt x="15381" y="6525"/>
                </a:lnTo>
                <a:cubicBezTo>
                  <a:pt x="15732" y="6596"/>
                  <a:pt x="16058" y="6690"/>
                  <a:pt x="16373" y="6797"/>
                </a:cubicBezTo>
                <a:cubicBezTo>
                  <a:pt x="16374" y="6726"/>
                  <a:pt x="16375" y="6654"/>
                  <a:pt x="16376" y="6582"/>
                </a:cubicBezTo>
                <a:cubicBezTo>
                  <a:pt x="16114" y="6494"/>
                  <a:pt x="15851" y="6419"/>
                  <a:pt x="15589" y="6356"/>
                </a:cubicBezTo>
                <a:lnTo>
                  <a:pt x="15589" y="6005"/>
                </a:lnTo>
                <a:cubicBezTo>
                  <a:pt x="15804" y="6056"/>
                  <a:pt x="16019" y="6116"/>
                  <a:pt x="16235" y="6184"/>
                </a:cubicBezTo>
                <a:lnTo>
                  <a:pt x="16235" y="5975"/>
                </a:lnTo>
                <a:cubicBezTo>
                  <a:pt x="16019" y="5907"/>
                  <a:pt x="15804" y="5847"/>
                  <a:pt x="15589" y="5796"/>
                </a:cubicBezTo>
                <a:lnTo>
                  <a:pt x="15589" y="5493"/>
                </a:lnTo>
                <a:cubicBezTo>
                  <a:pt x="15840" y="5543"/>
                  <a:pt x="16091" y="5605"/>
                  <a:pt x="16342" y="5679"/>
                </a:cubicBezTo>
                <a:close/>
                <a:moveTo>
                  <a:pt x="17896" y="3276"/>
                </a:moveTo>
                <a:lnTo>
                  <a:pt x="17896" y="3276"/>
                </a:lnTo>
                <a:cubicBezTo>
                  <a:pt x="17817" y="3218"/>
                  <a:pt x="17737" y="3172"/>
                  <a:pt x="17651" y="3141"/>
                </a:cubicBezTo>
                <a:cubicBezTo>
                  <a:pt x="17653" y="3180"/>
                  <a:pt x="17656" y="3218"/>
                  <a:pt x="17660" y="3256"/>
                </a:cubicBezTo>
                <a:cubicBezTo>
                  <a:pt x="17797" y="3586"/>
                  <a:pt x="17999" y="3880"/>
                  <a:pt x="18247" y="4130"/>
                </a:cubicBezTo>
                <a:cubicBezTo>
                  <a:pt x="18289" y="4147"/>
                  <a:pt x="18331" y="4165"/>
                  <a:pt x="18372" y="4182"/>
                </a:cubicBezTo>
                <a:cubicBezTo>
                  <a:pt x="18569" y="4263"/>
                  <a:pt x="18763" y="4343"/>
                  <a:pt x="18960" y="4419"/>
                </a:cubicBezTo>
                <a:cubicBezTo>
                  <a:pt x="18497" y="4153"/>
                  <a:pt x="18121" y="3758"/>
                  <a:pt x="17896" y="3276"/>
                </a:cubicBezTo>
                <a:close/>
                <a:moveTo>
                  <a:pt x="12099" y="5524"/>
                </a:moveTo>
                <a:lnTo>
                  <a:pt x="12099" y="5524"/>
                </a:lnTo>
                <a:cubicBezTo>
                  <a:pt x="12083" y="5569"/>
                  <a:pt x="11912" y="6041"/>
                  <a:pt x="11844" y="6230"/>
                </a:cubicBezTo>
                <a:cubicBezTo>
                  <a:pt x="12016" y="6169"/>
                  <a:pt x="12190" y="6121"/>
                  <a:pt x="12363" y="6089"/>
                </a:cubicBezTo>
                <a:cubicBezTo>
                  <a:pt x="12290" y="5935"/>
                  <a:pt x="12099" y="5524"/>
                  <a:pt x="12099" y="5524"/>
                </a:cubicBezTo>
                <a:close/>
                <a:moveTo>
                  <a:pt x="11948" y="5378"/>
                </a:moveTo>
                <a:lnTo>
                  <a:pt x="11948" y="5378"/>
                </a:lnTo>
                <a:cubicBezTo>
                  <a:pt x="12035" y="5356"/>
                  <a:pt x="12124" y="5336"/>
                  <a:pt x="12215" y="5316"/>
                </a:cubicBezTo>
                <a:cubicBezTo>
                  <a:pt x="12412" y="5705"/>
                  <a:pt x="12607" y="6098"/>
                  <a:pt x="12793" y="6485"/>
                </a:cubicBezTo>
                <a:cubicBezTo>
                  <a:pt x="12765" y="6490"/>
                  <a:pt x="12596" y="6520"/>
                  <a:pt x="12569" y="6527"/>
                </a:cubicBezTo>
                <a:cubicBezTo>
                  <a:pt x="12546" y="6477"/>
                  <a:pt x="12471" y="6319"/>
                  <a:pt x="12448" y="6269"/>
                </a:cubicBezTo>
                <a:cubicBezTo>
                  <a:pt x="12218" y="6308"/>
                  <a:pt x="11988" y="6374"/>
                  <a:pt x="11762" y="6463"/>
                </a:cubicBezTo>
                <a:cubicBezTo>
                  <a:pt x="11725" y="6568"/>
                  <a:pt x="11687" y="6673"/>
                  <a:pt x="11651" y="6775"/>
                </a:cubicBezTo>
                <a:cubicBezTo>
                  <a:pt x="11563" y="6805"/>
                  <a:pt x="11477" y="6835"/>
                  <a:pt x="11391" y="6866"/>
                </a:cubicBezTo>
                <a:cubicBezTo>
                  <a:pt x="11569" y="6380"/>
                  <a:pt x="11756" y="5880"/>
                  <a:pt x="11948" y="5378"/>
                </a:cubicBezTo>
                <a:close/>
                <a:moveTo>
                  <a:pt x="6291" y="8112"/>
                </a:moveTo>
                <a:lnTo>
                  <a:pt x="6291" y="8112"/>
                </a:lnTo>
                <a:cubicBezTo>
                  <a:pt x="6335" y="8112"/>
                  <a:pt x="6376" y="8111"/>
                  <a:pt x="6418" y="8110"/>
                </a:cubicBezTo>
                <a:lnTo>
                  <a:pt x="6418" y="6864"/>
                </a:lnTo>
                <a:cubicBezTo>
                  <a:pt x="6376" y="6864"/>
                  <a:pt x="6335" y="6866"/>
                  <a:pt x="6291" y="6866"/>
                </a:cubicBezTo>
                <a:cubicBezTo>
                  <a:pt x="6208" y="6866"/>
                  <a:pt x="6124" y="6862"/>
                  <a:pt x="6041" y="6858"/>
                </a:cubicBezTo>
                <a:lnTo>
                  <a:pt x="5634" y="7873"/>
                </a:lnTo>
                <a:cubicBezTo>
                  <a:pt x="5580" y="7722"/>
                  <a:pt x="5283" y="6964"/>
                  <a:pt x="5209" y="6775"/>
                </a:cubicBezTo>
                <a:cubicBezTo>
                  <a:pt x="5085" y="6754"/>
                  <a:pt x="4961" y="6729"/>
                  <a:pt x="4839" y="6702"/>
                </a:cubicBezTo>
                <a:lnTo>
                  <a:pt x="4830" y="7971"/>
                </a:lnTo>
                <a:cubicBezTo>
                  <a:pt x="4901" y="7985"/>
                  <a:pt x="4972" y="7998"/>
                  <a:pt x="5043" y="8009"/>
                </a:cubicBezTo>
                <a:cubicBezTo>
                  <a:pt x="5043" y="7786"/>
                  <a:pt x="5041" y="7094"/>
                  <a:pt x="5039" y="6947"/>
                </a:cubicBezTo>
                <a:cubicBezTo>
                  <a:pt x="5096" y="7101"/>
                  <a:pt x="5422" y="7885"/>
                  <a:pt x="5498" y="8069"/>
                </a:cubicBezTo>
                <a:cubicBezTo>
                  <a:pt x="5581" y="8078"/>
                  <a:pt x="5663" y="8085"/>
                  <a:pt x="5745" y="8091"/>
                </a:cubicBezTo>
                <a:cubicBezTo>
                  <a:pt x="5812" y="7941"/>
                  <a:pt x="6151" y="7181"/>
                  <a:pt x="6209" y="7023"/>
                </a:cubicBezTo>
                <a:cubicBezTo>
                  <a:pt x="6207" y="7175"/>
                  <a:pt x="6205" y="7916"/>
                  <a:pt x="6205" y="8110"/>
                </a:cubicBezTo>
                <a:cubicBezTo>
                  <a:pt x="6233" y="8110"/>
                  <a:pt x="6262" y="8112"/>
                  <a:pt x="6291" y="8112"/>
                </a:cubicBezTo>
                <a:close/>
                <a:moveTo>
                  <a:pt x="10743" y="5961"/>
                </a:moveTo>
                <a:lnTo>
                  <a:pt x="10743" y="5961"/>
                </a:lnTo>
                <a:cubicBezTo>
                  <a:pt x="10886" y="5915"/>
                  <a:pt x="11020" y="5927"/>
                  <a:pt x="11062" y="6071"/>
                </a:cubicBezTo>
                <a:lnTo>
                  <a:pt x="11265" y="6008"/>
                </a:lnTo>
                <a:cubicBezTo>
                  <a:pt x="11217" y="5741"/>
                  <a:pt x="10993" y="5670"/>
                  <a:pt x="10735" y="5754"/>
                </a:cubicBezTo>
                <a:cubicBezTo>
                  <a:pt x="10374" y="5870"/>
                  <a:pt x="10140" y="6218"/>
                  <a:pt x="10140" y="6639"/>
                </a:cubicBezTo>
                <a:cubicBezTo>
                  <a:pt x="10140" y="7049"/>
                  <a:pt x="10361" y="7275"/>
                  <a:pt x="10737" y="7153"/>
                </a:cubicBezTo>
                <a:cubicBezTo>
                  <a:pt x="11012" y="7064"/>
                  <a:pt x="11207" y="6850"/>
                  <a:pt x="11266" y="6582"/>
                </a:cubicBezTo>
                <a:lnTo>
                  <a:pt x="11046" y="6639"/>
                </a:lnTo>
                <a:cubicBezTo>
                  <a:pt x="10998" y="6791"/>
                  <a:pt x="10887" y="6904"/>
                  <a:pt x="10729" y="6955"/>
                </a:cubicBezTo>
                <a:cubicBezTo>
                  <a:pt x="10455" y="7044"/>
                  <a:pt x="10353" y="6859"/>
                  <a:pt x="10353" y="6572"/>
                </a:cubicBezTo>
                <a:cubicBezTo>
                  <a:pt x="10353" y="6342"/>
                  <a:pt x="10513" y="6035"/>
                  <a:pt x="10743" y="5961"/>
                </a:cubicBezTo>
                <a:close/>
                <a:moveTo>
                  <a:pt x="14267" y="6393"/>
                </a:moveTo>
                <a:lnTo>
                  <a:pt x="14267" y="6393"/>
                </a:lnTo>
                <a:lnTo>
                  <a:pt x="14267" y="5147"/>
                </a:lnTo>
                <a:cubicBezTo>
                  <a:pt x="14201" y="5145"/>
                  <a:pt x="14134" y="5144"/>
                  <a:pt x="14066" y="5144"/>
                </a:cubicBezTo>
                <a:cubicBezTo>
                  <a:pt x="14068" y="5448"/>
                  <a:pt x="14069" y="5752"/>
                  <a:pt x="14070" y="6057"/>
                </a:cubicBezTo>
                <a:cubicBezTo>
                  <a:pt x="13803" y="5749"/>
                  <a:pt x="13531" y="5455"/>
                  <a:pt x="13264" y="5169"/>
                </a:cubicBezTo>
                <a:cubicBezTo>
                  <a:pt x="13181" y="5175"/>
                  <a:pt x="13100" y="5182"/>
                  <a:pt x="13021" y="5190"/>
                </a:cubicBezTo>
                <a:lnTo>
                  <a:pt x="13021" y="6451"/>
                </a:lnTo>
                <a:cubicBezTo>
                  <a:pt x="13088" y="6442"/>
                  <a:pt x="13155" y="6434"/>
                  <a:pt x="13224" y="6427"/>
                </a:cubicBezTo>
                <a:cubicBezTo>
                  <a:pt x="13223" y="6098"/>
                  <a:pt x="13222" y="5769"/>
                  <a:pt x="13222" y="5440"/>
                </a:cubicBezTo>
                <a:cubicBezTo>
                  <a:pt x="13504" y="5745"/>
                  <a:pt x="13790" y="6060"/>
                  <a:pt x="14072" y="6389"/>
                </a:cubicBezTo>
                <a:cubicBezTo>
                  <a:pt x="14137" y="6390"/>
                  <a:pt x="14202" y="6391"/>
                  <a:pt x="14267" y="6393"/>
                </a:cubicBezTo>
                <a:close/>
                <a:moveTo>
                  <a:pt x="7847" y="6956"/>
                </a:moveTo>
                <a:lnTo>
                  <a:pt x="7847" y="6956"/>
                </a:lnTo>
                <a:cubicBezTo>
                  <a:pt x="7846" y="6883"/>
                  <a:pt x="7845" y="6811"/>
                  <a:pt x="7844" y="6738"/>
                </a:cubicBezTo>
                <a:cubicBezTo>
                  <a:pt x="7526" y="6793"/>
                  <a:pt x="7183" y="6832"/>
                  <a:pt x="6809" y="6852"/>
                </a:cubicBezTo>
                <a:lnTo>
                  <a:pt x="6809" y="8100"/>
                </a:lnTo>
                <a:cubicBezTo>
                  <a:pt x="7198" y="8083"/>
                  <a:pt x="7554" y="8048"/>
                  <a:pt x="7882" y="7999"/>
                </a:cubicBezTo>
                <a:cubicBezTo>
                  <a:pt x="7883" y="7930"/>
                  <a:pt x="7884" y="7862"/>
                  <a:pt x="7885" y="7794"/>
                </a:cubicBezTo>
                <a:cubicBezTo>
                  <a:pt x="7599" y="7836"/>
                  <a:pt x="7312" y="7864"/>
                  <a:pt x="7025" y="7878"/>
                </a:cubicBezTo>
                <a:lnTo>
                  <a:pt x="7025" y="7574"/>
                </a:lnTo>
                <a:cubicBezTo>
                  <a:pt x="7260" y="7557"/>
                  <a:pt x="7496" y="7531"/>
                  <a:pt x="7731" y="7495"/>
                </a:cubicBezTo>
                <a:lnTo>
                  <a:pt x="7731" y="7287"/>
                </a:lnTo>
                <a:cubicBezTo>
                  <a:pt x="7496" y="7323"/>
                  <a:pt x="7260" y="7349"/>
                  <a:pt x="7025" y="7365"/>
                </a:cubicBezTo>
                <a:lnTo>
                  <a:pt x="7025" y="7053"/>
                </a:lnTo>
                <a:cubicBezTo>
                  <a:pt x="7299" y="7033"/>
                  <a:pt x="7574" y="7001"/>
                  <a:pt x="7847" y="6956"/>
                </a:cubicBezTo>
                <a:close/>
                <a:moveTo>
                  <a:pt x="9082" y="6822"/>
                </a:moveTo>
                <a:lnTo>
                  <a:pt x="9082" y="6822"/>
                </a:lnTo>
                <a:cubicBezTo>
                  <a:pt x="9082" y="6672"/>
                  <a:pt x="9004" y="6682"/>
                  <a:pt x="8797" y="6737"/>
                </a:cubicBezTo>
                <a:cubicBezTo>
                  <a:pt x="8677" y="6769"/>
                  <a:pt x="8557" y="6798"/>
                  <a:pt x="8437" y="6825"/>
                </a:cubicBezTo>
                <a:lnTo>
                  <a:pt x="8437" y="7152"/>
                </a:lnTo>
                <a:cubicBezTo>
                  <a:pt x="8553" y="7129"/>
                  <a:pt x="8670" y="7104"/>
                  <a:pt x="8786" y="7076"/>
                </a:cubicBezTo>
                <a:cubicBezTo>
                  <a:pt x="8999" y="7019"/>
                  <a:pt x="9082" y="6890"/>
                  <a:pt x="9082" y="6822"/>
                </a:cubicBezTo>
                <a:close/>
                <a:moveTo>
                  <a:pt x="9002" y="7201"/>
                </a:moveTo>
                <a:lnTo>
                  <a:pt x="9002" y="7201"/>
                </a:lnTo>
                <a:cubicBezTo>
                  <a:pt x="9136" y="7349"/>
                  <a:pt x="9270" y="7492"/>
                  <a:pt x="9404" y="7631"/>
                </a:cubicBezTo>
                <a:cubicBezTo>
                  <a:pt x="9328" y="7656"/>
                  <a:pt x="9251" y="7681"/>
                  <a:pt x="9172" y="7705"/>
                </a:cubicBezTo>
                <a:cubicBezTo>
                  <a:pt x="9041" y="7569"/>
                  <a:pt x="8909" y="7430"/>
                  <a:pt x="8778" y="7285"/>
                </a:cubicBezTo>
                <a:cubicBezTo>
                  <a:pt x="8664" y="7314"/>
                  <a:pt x="8551" y="7341"/>
                  <a:pt x="8437" y="7365"/>
                </a:cubicBezTo>
                <a:lnTo>
                  <a:pt x="8437" y="7897"/>
                </a:lnTo>
                <a:cubicBezTo>
                  <a:pt x="8365" y="7913"/>
                  <a:pt x="8293" y="7928"/>
                  <a:pt x="8218" y="7942"/>
                </a:cubicBezTo>
                <a:lnTo>
                  <a:pt x="8218" y="6664"/>
                </a:lnTo>
                <a:cubicBezTo>
                  <a:pt x="8351" y="6635"/>
                  <a:pt x="8543" y="6597"/>
                  <a:pt x="8801" y="6529"/>
                </a:cubicBezTo>
                <a:cubicBezTo>
                  <a:pt x="9152" y="6434"/>
                  <a:pt x="9317" y="6503"/>
                  <a:pt x="9317" y="6743"/>
                </a:cubicBezTo>
                <a:cubicBezTo>
                  <a:pt x="9317" y="6982"/>
                  <a:pt x="9148" y="7123"/>
                  <a:pt x="9002" y="7201"/>
                </a:cubicBezTo>
                <a:close/>
                <a:moveTo>
                  <a:pt x="9851" y="7472"/>
                </a:moveTo>
                <a:lnTo>
                  <a:pt x="9851" y="7472"/>
                </a:lnTo>
                <a:lnTo>
                  <a:pt x="9851" y="6138"/>
                </a:lnTo>
                <a:cubicBezTo>
                  <a:pt x="9783" y="6165"/>
                  <a:pt x="9716" y="6192"/>
                  <a:pt x="9647" y="6219"/>
                </a:cubicBezTo>
                <a:lnTo>
                  <a:pt x="9647" y="7547"/>
                </a:lnTo>
                <a:cubicBezTo>
                  <a:pt x="9716" y="7522"/>
                  <a:pt x="9784" y="7497"/>
                  <a:pt x="9851" y="7472"/>
                </a:cubicBezTo>
                <a:close/>
                <a:moveTo>
                  <a:pt x="1493" y="2260"/>
                </a:moveTo>
                <a:lnTo>
                  <a:pt x="1493" y="2260"/>
                </a:lnTo>
                <a:lnTo>
                  <a:pt x="0" y="6699"/>
                </a:lnTo>
                <a:lnTo>
                  <a:pt x="0" y="7354"/>
                </a:lnTo>
                <a:lnTo>
                  <a:pt x="1599" y="2604"/>
                </a:lnTo>
                <a:cubicBezTo>
                  <a:pt x="1558" y="2490"/>
                  <a:pt x="1523" y="2376"/>
                  <a:pt x="1493" y="2260"/>
                </a:cubicBezTo>
                <a:close/>
                <a:moveTo>
                  <a:pt x="599" y="10809"/>
                </a:moveTo>
                <a:lnTo>
                  <a:pt x="599" y="10809"/>
                </a:lnTo>
                <a:lnTo>
                  <a:pt x="828" y="10809"/>
                </a:lnTo>
                <a:lnTo>
                  <a:pt x="1674" y="8922"/>
                </a:lnTo>
                <a:cubicBezTo>
                  <a:pt x="1613" y="8889"/>
                  <a:pt x="1551" y="8855"/>
                  <a:pt x="1491" y="8820"/>
                </a:cubicBezTo>
                <a:lnTo>
                  <a:pt x="599" y="10809"/>
                </a:lnTo>
                <a:close/>
                <a:moveTo>
                  <a:pt x="6619" y="10090"/>
                </a:moveTo>
                <a:lnTo>
                  <a:pt x="6619" y="10090"/>
                </a:lnTo>
                <a:cubicBezTo>
                  <a:pt x="6548" y="10091"/>
                  <a:pt x="6476" y="10092"/>
                  <a:pt x="6404" y="10093"/>
                </a:cubicBezTo>
                <a:lnTo>
                  <a:pt x="6591" y="10809"/>
                </a:lnTo>
                <a:lnTo>
                  <a:pt x="6807" y="10809"/>
                </a:lnTo>
                <a:lnTo>
                  <a:pt x="6619" y="10090"/>
                </a:lnTo>
                <a:close/>
                <a:moveTo>
                  <a:pt x="3374" y="9663"/>
                </a:moveTo>
                <a:lnTo>
                  <a:pt x="3374" y="9663"/>
                </a:lnTo>
                <a:cubicBezTo>
                  <a:pt x="2632" y="9663"/>
                  <a:pt x="2000" y="10143"/>
                  <a:pt x="1771" y="10809"/>
                </a:cubicBezTo>
                <a:lnTo>
                  <a:pt x="1994" y="10809"/>
                </a:lnTo>
                <a:cubicBezTo>
                  <a:pt x="2213" y="10261"/>
                  <a:pt x="2749" y="9872"/>
                  <a:pt x="3374" y="9872"/>
                </a:cubicBezTo>
                <a:cubicBezTo>
                  <a:pt x="3999" y="9872"/>
                  <a:pt x="4535" y="10261"/>
                  <a:pt x="4755" y="10809"/>
                </a:cubicBezTo>
                <a:lnTo>
                  <a:pt x="4977" y="10809"/>
                </a:lnTo>
                <a:cubicBezTo>
                  <a:pt x="4748" y="10143"/>
                  <a:pt x="4116" y="9663"/>
                  <a:pt x="3374" y="9663"/>
                </a:cubicBezTo>
                <a:close/>
                <a:moveTo>
                  <a:pt x="0" y="8877"/>
                </a:moveTo>
                <a:lnTo>
                  <a:pt x="0" y="8877"/>
                </a:lnTo>
                <a:lnTo>
                  <a:pt x="0" y="9474"/>
                </a:lnTo>
                <a:lnTo>
                  <a:pt x="491" y="8161"/>
                </a:lnTo>
                <a:cubicBezTo>
                  <a:pt x="432" y="8117"/>
                  <a:pt x="375" y="8072"/>
                  <a:pt x="317" y="8027"/>
                </a:cubicBezTo>
                <a:lnTo>
                  <a:pt x="0" y="8877"/>
                </a:lnTo>
                <a:close/>
                <a:moveTo>
                  <a:pt x="5546" y="10065"/>
                </a:moveTo>
                <a:lnTo>
                  <a:pt x="5546" y="10065"/>
                </a:lnTo>
                <a:cubicBezTo>
                  <a:pt x="5471" y="10060"/>
                  <a:pt x="5396" y="10052"/>
                  <a:pt x="5321" y="10044"/>
                </a:cubicBezTo>
                <a:lnTo>
                  <a:pt x="5550" y="10809"/>
                </a:lnTo>
                <a:lnTo>
                  <a:pt x="5768" y="10809"/>
                </a:lnTo>
                <a:lnTo>
                  <a:pt x="5546" y="10065"/>
                </a:lnTo>
                <a:close/>
                <a:moveTo>
                  <a:pt x="2075" y="9130"/>
                </a:moveTo>
                <a:lnTo>
                  <a:pt x="2075" y="9130"/>
                </a:lnTo>
                <a:lnTo>
                  <a:pt x="1259" y="10809"/>
                </a:lnTo>
                <a:lnTo>
                  <a:pt x="1491" y="10809"/>
                </a:lnTo>
                <a:lnTo>
                  <a:pt x="2265" y="9218"/>
                </a:lnTo>
                <a:cubicBezTo>
                  <a:pt x="2201" y="9189"/>
                  <a:pt x="2138" y="9160"/>
                  <a:pt x="2075" y="9130"/>
                </a:cubicBezTo>
                <a:close/>
                <a:moveTo>
                  <a:pt x="0" y="10659"/>
                </a:moveTo>
                <a:lnTo>
                  <a:pt x="0" y="10659"/>
                </a:lnTo>
                <a:lnTo>
                  <a:pt x="0" y="10809"/>
                </a:lnTo>
                <a:lnTo>
                  <a:pt x="164" y="10809"/>
                </a:lnTo>
                <a:lnTo>
                  <a:pt x="1084" y="8573"/>
                </a:lnTo>
                <a:cubicBezTo>
                  <a:pt x="1024" y="8534"/>
                  <a:pt x="965" y="8495"/>
                  <a:pt x="906" y="8456"/>
                </a:cubicBezTo>
                <a:lnTo>
                  <a:pt x="0" y="10659"/>
                </a:lnTo>
                <a:close/>
                <a:moveTo>
                  <a:pt x="4009" y="1354"/>
                </a:moveTo>
                <a:lnTo>
                  <a:pt x="4009" y="1354"/>
                </a:lnTo>
                <a:lnTo>
                  <a:pt x="4009" y="1249"/>
                </a:lnTo>
                <a:cubicBezTo>
                  <a:pt x="4009" y="899"/>
                  <a:pt x="3724" y="615"/>
                  <a:pt x="3374" y="615"/>
                </a:cubicBezTo>
                <a:cubicBezTo>
                  <a:pt x="3024" y="615"/>
                  <a:pt x="2739" y="899"/>
                  <a:pt x="2739" y="1249"/>
                </a:cubicBezTo>
                <a:cubicBezTo>
                  <a:pt x="2739" y="2119"/>
                  <a:pt x="3107" y="2908"/>
                  <a:pt x="3724" y="3360"/>
                </a:cubicBezTo>
                <a:cubicBezTo>
                  <a:pt x="4424" y="3873"/>
                  <a:pt x="5347" y="3839"/>
                  <a:pt x="6023" y="3476"/>
                </a:cubicBezTo>
                <a:cubicBezTo>
                  <a:pt x="6050" y="3405"/>
                  <a:pt x="6071" y="3325"/>
                  <a:pt x="6086" y="3235"/>
                </a:cubicBezTo>
                <a:cubicBezTo>
                  <a:pt x="6059" y="3237"/>
                  <a:pt x="6035" y="3241"/>
                  <a:pt x="6009" y="3244"/>
                </a:cubicBezTo>
                <a:cubicBezTo>
                  <a:pt x="5547" y="3526"/>
                  <a:pt x="4621" y="3758"/>
                  <a:pt x="3848" y="3191"/>
                </a:cubicBezTo>
                <a:cubicBezTo>
                  <a:pt x="3285" y="2778"/>
                  <a:pt x="2948" y="2052"/>
                  <a:pt x="2948" y="1249"/>
                </a:cubicBezTo>
                <a:cubicBezTo>
                  <a:pt x="2948" y="1015"/>
                  <a:pt x="3139" y="824"/>
                  <a:pt x="3374" y="824"/>
                </a:cubicBezTo>
                <a:cubicBezTo>
                  <a:pt x="3609" y="824"/>
                  <a:pt x="3800" y="1015"/>
                  <a:pt x="3800" y="1249"/>
                </a:cubicBezTo>
                <a:lnTo>
                  <a:pt x="3800" y="1354"/>
                </a:lnTo>
                <a:lnTo>
                  <a:pt x="4009" y="1354"/>
                </a:lnTo>
                <a:close/>
                <a:moveTo>
                  <a:pt x="3904" y="1884"/>
                </a:moveTo>
                <a:lnTo>
                  <a:pt x="3904" y="1884"/>
                </a:lnTo>
                <a:cubicBezTo>
                  <a:pt x="4254" y="1884"/>
                  <a:pt x="4539" y="1599"/>
                  <a:pt x="4539" y="1249"/>
                </a:cubicBezTo>
                <a:cubicBezTo>
                  <a:pt x="4539" y="607"/>
                  <a:pt x="4017" y="84"/>
                  <a:pt x="3374" y="84"/>
                </a:cubicBezTo>
                <a:cubicBezTo>
                  <a:pt x="2732" y="84"/>
                  <a:pt x="2209" y="607"/>
                  <a:pt x="2209" y="1249"/>
                </a:cubicBezTo>
                <a:cubicBezTo>
                  <a:pt x="2209" y="2633"/>
                  <a:pt x="3130" y="3959"/>
                  <a:pt x="4500" y="4547"/>
                </a:cubicBezTo>
                <a:cubicBezTo>
                  <a:pt x="5741" y="5080"/>
                  <a:pt x="6989" y="4865"/>
                  <a:pt x="7855" y="4043"/>
                </a:cubicBezTo>
                <a:cubicBezTo>
                  <a:pt x="7877" y="4021"/>
                  <a:pt x="8008" y="3894"/>
                  <a:pt x="8122" y="3739"/>
                </a:cubicBezTo>
                <a:cubicBezTo>
                  <a:pt x="8122" y="3738"/>
                  <a:pt x="8122" y="3737"/>
                  <a:pt x="8122" y="3736"/>
                </a:cubicBezTo>
                <a:cubicBezTo>
                  <a:pt x="7997" y="3752"/>
                  <a:pt x="7889" y="3778"/>
                  <a:pt x="7791" y="3810"/>
                </a:cubicBezTo>
                <a:cubicBezTo>
                  <a:pt x="7759" y="3844"/>
                  <a:pt x="7731" y="3872"/>
                  <a:pt x="7711" y="3891"/>
                </a:cubicBezTo>
                <a:cubicBezTo>
                  <a:pt x="6891" y="4670"/>
                  <a:pt x="5721" y="4844"/>
                  <a:pt x="4583" y="4355"/>
                </a:cubicBezTo>
                <a:cubicBezTo>
                  <a:pt x="3288" y="3799"/>
                  <a:pt x="2418" y="2551"/>
                  <a:pt x="2418" y="1249"/>
                </a:cubicBezTo>
                <a:cubicBezTo>
                  <a:pt x="2418" y="722"/>
                  <a:pt x="2847" y="293"/>
                  <a:pt x="3374" y="293"/>
                </a:cubicBezTo>
                <a:cubicBezTo>
                  <a:pt x="3901" y="293"/>
                  <a:pt x="4330" y="722"/>
                  <a:pt x="4330" y="1249"/>
                </a:cubicBezTo>
                <a:cubicBezTo>
                  <a:pt x="4330" y="1484"/>
                  <a:pt x="4139" y="1675"/>
                  <a:pt x="3904" y="1675"/>
                </a:cubicBezTo>
                <a:cubicBezTo>
                  <a:pt x="3670" y="1675"/>
                  <a:pt x="3479" y="1484"/>
                  <a:pt x="3479" y="1249"/>
                </a:cubicBezTo>
                <a:lnTo>
                  <a:pt x="3479" y="1145"/>
                </a:lnTo>
                <a:lnTo>
                  <a:pt x="3270" y="1145"/>
                </a:lnTo>
                <a:lnTo>
                  <a:pt x="3270" y="1249"/>
                </a:lnTo>
                <a:cubicBezTo>
                  <a:pt x="3270" y="1599"/>
                  <a:pt x="3554" y="1884"/>
                  <a:pt x="3904" y="1884"/>
                </a:cubicBezTo>
                <a:close/>
                <a:moveTo>
                  <a:pt x="340" y="0"/>
                </a:moveTo>
                <a:lnTo>
                  <a:pt x="340" y="0"/>
                </a:lnTo>
                <a:lnTo>
                  <a:pt x="124" y="0"/>
                </a:lnTo>
                <a:lnTo>
                  <a:pt x="0" y="475"/>
                </a:lnTo>
                <a:lnTo>
                  <a:pt x="0" y="1300"/>
                </a:lnTo>
                <a:lnTo>
                  <a:pt x="340" y="0"/>
                </a:lnTo>
                <a:close/>
                <a:moveTo>
                  <a:pt x="3058" y="10809"/>
                </a:moveTo>
                <a:lnTo>
                  <a:pt x="3058" y="10809"/>
                </a:lnTo>
                <a:lnTo>
                  <a:pt x="3690" y="10809"/>
                </a:lnTo>
                <a:cubicBezTo>
                  <a:pt x="3597" y="10755"/>
                  <a:pt x="3489" y="10724"/>
                  <a:pt x="3374" y="10724"/>
                </a:cubicBezTo>
                <a:cubicBezTo>
                  <a:pt x="3259" y="10724"/>
                  <a:pt x="3151" y="10755"/>
                  <a:pt x="3058" y="10809"/>
                </a:cubicBezTo>
                <a:close/>
                <a:moveTo>
                  <a:pt x="1679" y="1249"/>
                </a:moveTo>
                <a:lnTo>
                  <a:pt x="1679" y="1249"/>
                </a:lnTo>
                <a:cubicBezTo>
                  <a:pt x="1679" y="1912"/>
                  <a:pt x="1853" y="2538"/>
                  <a:pt x="2162" y="3094"/>
                </a:cubicBezTo>
                <a:lnTo>
                  <a:pt x="432" y="7720"/>
                </a:lnTo>
                <a:cubicBezTo>
                  <a:pt x="2182" y="9124"/>
                  <a:pt x="4238" y="9781"/>
                  <a:pt x="6291" y="9781"/>
                </a:cubicBezTo>
                <a:cubicBezTo>
                  <a:pt x="10315" y="9781"/>
                  <a:pt x="11538" y="8057"/>
                  <a:pt x="13980" y="8057"/>
                </a:cubicBezTo>
                <a:cubicBezTo>
                  <a:pt x="15836" y="8057"/>
                  <a:pt x="16988" y="9052"/>
                  <a:pt x="19200" y="9530"/>
                </a:cubicBezTo>
                <a:lnTo>
                  <a:pt x="19200" y="9316"/>
                </a:lnTo>
                <a:cubicBezTo>
                  <a:pt x="17026" y="8836"/>
                  <a:pt x="15875" y="7848"/>
                  <a:pt x="13980" y="7848"/>
                </a:cubicBezTo>
                <a:cubicBezTo>
                  <a:pt x="11477" y="7848"/>
                  <a:pt x="10272" y="9572"/>
                  <a:pt x="6291" y="9572"/>
                </a:cubicBezTo>
                <a:cubicBezTo>
                  <a:pt x="4242" y="9572"/>
                  <a:pt x="2253" y="8890"/>
                  <a:pt x="681" y="7651"/>
                </a:cubicBezTo>
                <a:lnTo>
                  <a:pt x="2299" y="3323"/>
                </a:lnTo>
                <a:cubicBezTo>
                  <a:pt x="3098" y="4562"/>
                  <a:pt x="4587" y="5397"/>
                  <a:pt x="6291" y="5397"/>
                </a:cubicBezTo>
                <a:cubicBezTo>
                  <a:pt x="9472" y="5397"/>
                  <a:pt x="10157" y="3674"/>
                  <a:pt x="13981" y="3674"/>
                </a:cubicBezTo>
                <a:cubicBezTo>
                  <a:pt x="16581" y="3674"/>
                  <a:pt x="17730" y="4471"/>
                  <a:pt x="19200" y="4981"/>
                </a:cubicBezTo>
                <a:lnTo>
                  <a:pt x="19200" y="4759"/>
                </a:lnTo>
                <a:cubicBezTo>
                  <a:pt x="18887" y="4648"/>
                  <a:pt x="18588" y="4525"/>
                  <a:pt x="18283" y="4399"/>
                </a:cubicBezTo>
                <a:cubicBezTo>
                  <a:pt x="17574" y="4106"/>
                  <a:pt x="17437" y="3655"/>
                  <a:pt x="17433" y="2883"/>
                </a:cubicBezTo>
                <a:cubicBezTo>
                  <a:pt x="18212" y="2948"/>
                  <a:pt x="18512" y="3750"/>
                  <a:pt x="19200" y="4304"/>
                </a:cubicBezTo>
                <a:lnTo>
                  <a:pt x="19200" y="4027"/>
                </a:lnTo>
                <a:cubicBezTo>
                  <a:pt x="18578" y="3457"/>
                  <a:pt x="18243" y="2669"/>
                  <a:pt x="17328" y="2669"/>
                </a:cubicBezTo>
                <a:lnTo>
                  <a:pt x="17224" y="2669"/>
                </a:lnTo>
                <a:lnTo>
                  <a:pt x="17224" y="2774"/>
                </a:lnTo>
                <a:cubicBezTo>
                  <a:pt x="17224" y="3183"/>
                  <a:pt x="17225" y="3691"/>
                  <a:pt x="17513" y="4091"/>
                </a:cubicBezTo>
                <a:cubicBezTo>
                  <a:pt x="16605" y="3750"/>
                  <a:pt x="15560" y="3465"/>
                  <a:pt x="13981" y="3465"/>
                </a:cubicBezTo>
                <a:cubicBezTo>
                  <a:pt x="12402" y="3465"/>
                  <a:pt x="11356" y="3750"/>
                  <a:pt x="10448" y="4091"/>
                </a:cubicBezTo>
                <a:cubicBezTo>
                  <a:pt x="10736" y="3691"/>
                  <a:pt x="10738" y="3183"/>
                  <a:pt x="10738" y="2774"/>
                </a:cubicBezTo>
                <a:lnTo>
                  <a:pt x="10738" y="2669"/>
                </a:lnTo>
                <a:lnTo>
                  <a:pt x="10633" y="2669"/>
                </a:lnTo>
                <a:cubicBezTo>
                  <a:pt x="9565" y="2669"/>
                  <a:pt x="9287" y="3743"/>
                  <a:pt x="8421" y="4290"/>
                </a:cubicBezTo>
                <a:cubicBezTo>
                  <a:pt x="8535" y="4036"/>
                  <a:pt x="8550" y="3718"/>
                  <a:pt x="8550" y="3402"/>
                </a:cubicBezTo>
                <a:lnTo>
                  <a:pt x="8550" y="3297"/>
                </a:lnTo>
                <a:lnTo>
                  <a:pt x="8446" y="3297"/>
                </a:lnTo>
                <a:cubicBezTo>
                  <a:pt x="7221" y="3297"/>
                  <a:pt x="7088" y="3919"/>
                  <a:pt x="6141" y="4039"/>
                </a:cubicBezTo>
                <a:cubicBezTo>
                  <a:pt x="6394" y="3816"/>
                  <a:pt x="6528" y="3425"/>
                  <a:pt x="6528" y="2906"/>
                </a:cubicBezTo>
                <a:lnTo>
                  <a:pt x="6528" y="2802"/>
                </a:lnTo>
                <a:lnTo>
                  <a:pt x="6423" y="2802"/>
                </a:lnTo>
                <a:cubicBezTo>
                  <a:pt x="5617" y="2802"/>
                  <a:pt x="5343" y="3009"/>
                  <a:pt x="4816" y="3009"/>
                </a:cubicBezTo>
                <a:cubicBezTo>
                  <a:pt x="4429" y="3009"/>
                  <a:pt x="4065" y="2789"/>
                  <a:pt x="3812" y="2411"/>
                </a:cubicBezTo>
                <a:cubicBezTo>
                  <a:pt x="4493" y="2464"/>
                  <a:pt x="5070" y="1925"/>
                  <a:pt x="5070" y="1249"/>
                </a:cubicBezTo>
                <a:cubicBezTo>
                  <a:pt x="5070" y="755"/>
                  <a:pt x="4857" y="309"/>
                  <a:pt x="4518" y="0"/>
                </a:cubicBezTo>
                <a:lnTo>
                  <a:pt x="4176" y="0"/>
                </a:lnTo>
                <a:cubicBezTo>
                  <a:pt x="4587" y="264"/>
                  <a:pt x="4861" y="725"/>
                  <a:pt x="4861" y="1249"/>
                </a:cubicBezTo>
                <a:cubicBezTo>
                  <a:pt x="4861" y="1885"/>
                  <a:pt x="4249" y="2345"/>
                  <a:pt x="3638" y="2168"/>
                </a:cubicBezTo>
                <a:lnTo>
                  <a:pt x="3407" y="2101"/>
                </a:lnTo>
                <a:lnTo>
                  <a:pt x="3515" y="2315"/>
                </a:lnTo>
                <a:cubicBezTo>
                  <a:pt x="3801" y="2880"/>
                  <a:pt x="4287" y="3218"/>
                  <a:pt x="4816" y="3218"/>
                </a:cubicBezTo>
                <a:cubicBezTo>
                  <a:pt x="5354" y="3218"/>
                  <a:pt x="5617" y="3029"/>
                  <a:pt x="6317" y="3012"/>
                </a:cubicBezTo>
                <a:cubicBezTo>
                  <a:pt x="6290" y="3680"/>
                  <a:pt x="6025" y="4126"/>
                  <a:pt x="5356" y="4023"/>
                </a:cubicBezTo>
                <a:cubicBezTo>
                  <a:pt x="5073" y="4070"/>
                  <a:pt x="4855" y="4068"/>
                  <a:pt x="4633" y="4041"/>
                </a:cubicBezTo>
                <a:cubicBezTo>
                  <a:pt x="4991" y="4187"/>
                  <a:pt x="5383" y="4268"/>
                  <a:pt x="5794" y="4268"/>
                </a:cubicBezTo>
                <a:cubicBezTo>
                  <a:pt x="7116" y="4268"/>
                  <a:pt x="7160" y="3547"/>
                  <a:pt x="8341" y="3508"/>
                </a:cubicBezTo>
                <a:cubicBezTo>
                  <a:pt x="8328" y="4434"/>
                  <a:pt x="8042" y="4513"/>
                  <a:pt x="7581" y="4616"/>
                </a:cubicBezTo>
                <a:cubicBezTo>
                  <a:pt x="7399" y="4735"/>
                  <a:pt x="7207" y="4835"/>
                  <a:pt x="7007" y="4913"/>
                </a:cubicBezTo>
                <a:cubicBezTo>
                  <a:pt x="7376" y="4883"/>
                  <a:pt x="7775" y="4816"/>
                  <a:pt x="8148" y="4661"/>
                </a:cubicBezTo>
                <a:cubicBezTo>
                  <a:pt x="9328" y="4207"/>
                  <a:pt x="9551" y="2964"/>
                  <a:pt x="10529" y="2883"/>
                </a:cubicBezTo>
                <a:cubicBezTo>
                  <a:pt x="10525" y="3653"/>
                  <a:pt x="10388" y="4106"/>
                  <a:pt x="9679" y="4399"/>
                </a:cubicBezTo>
                <a:cubicBezTo>
                  <a:pt x="8695" y="4805"/>
                  <a:pt x="7766" y="5188"/>
                  <a:pt x="6291" y="5188"/>
                </a:cubicBezTo>
                <a:cubicBezTo>
                  <a:pt x="3863" y="5188"/>
                  <a:pt x="1888" y="3421"/>
                  <a:pt x="1888" y="1249"/>
                </a:cubicBezTo>
                <a:cubicBezTo>
                  <a:pt x="1888" y="725"/>
                  <a:pt x="2161" y="264"/>
                  <a:pt x="2572" y="0"/>
                </a:cubicBezTo>
                <a:lnTo>
                  <a:pt x="2230" y="0"/>
                </a:lnTo>
                <a:cubicBezTo>
                  <a:pt x="1892" y="309"/>
                  <a:pt x="1679" y="755"/>
                  <a:pt x="1679" y="1249"/>
                </a:cubicBezTo>
                <a:close/>
                <a:moveTo>
                  <a:pt x="3374" y="10194"/>
                </a:moveTo>
                <a:lnTo>
                  <a:pt x="3374" y="10194"/>
                </a:lnTo>
                <a:cubicBezTo>
                  <a:pt x="2931" y="10194"/>
                  <a:pt x="2544" y="10443"/>
                  <a:pt x="2347" y="10809"/>
                </a:cubicBezTo>
                <a:lnTo>
                  <a:pt x="2593" y="10809"/>
                </a:lnTo>
                <a:cubicBezTo>
                  <a:pt x="2766" y="10563"/>
                  <a:pt x="3052" y="10403"/>
                  <a:pt x="3374" y="10403"/>
                </a:cubicBezTo>
                <a:cubicBezTo>
                  <a:pt x="3697" y="10403"/>
                  <a:pt x="3982" y="10563"/>
                  <a:pt x="4155" y="10809"/>
                </a:cubicBezTo>
                <a:lnTo>
                  <a:pt x="4401" y="10809"/>
                </a:lnTo>
                <a:cubicBezTo>
                  <a:pt x="4204" y="10443"/>
                  <a:pt x="3818" y="10194"/>
                  <a:pt x="3374" y="10194"/>
                </a:cubicBezTo>
                <a:close/>
                <a:moveTo>
                  <a:pt x="10301" y="3256"/>
                </a:moveTo>
                <a:lnTo>
                  <a:pt x="10301" y="3256"/>
                </a:lnTo>
                <a:cubicBezTo>
                  <a:pt x="10305" y="3218"/>
                  <a:pt x="10308" y="3180"/>
                  <a:pt x="10311" y="3141"/>
                </a:cubicBezTo>
                <a:cubicBezTo>
                  <a:pt x="10224" y="3172"/>
                  <a:pt x="10144" y="3218"/>
                  <a:pt x="10066" y="3276"/>
                </a:cubicBezTo>
                <a:cubicBezTo>
                  <a:pt x="9840" y="3758"/>
                  <a:pt x="9465" y="4153"/>
                  <a:pt x="9002" y="4419"/>
                </a:cubicBezTo>
                <a:cubicBezTo>
                  <a:pt x="9198" y="4343"/>
                  <a:pt x="9393" y="4263"/>
                  <a:pt x="9589" y="4182"/>
                </a:cubicBezTo>
                <a:cubicBezTo>
                  <a:pt x="9630" y="4165"/>
                  <a:pt x="9673" y="4147"/>
                  <a:pt x="9714" y="4130"/>
                </a:cubicBezTo>
                <a:cubicBezTo>
                  <a:pt x="9962" y="3880"/>
                  <a:pt x="10164" y="3586"/>
                  <a:pt x="10301" y="3256"/>
                </a:cubicBezTo>
                <a:close/>
                <a:moveTo>
                  <a:pt x="18036" y="10809"/>
                </a:moveTo>
                <a:lnTo>
                  <a:pt x="18036" y="10809"/>
                </a:lnTo>
                <a:lnTo>
                  <a:pt x="18247" y="10809"/>
                </a:lnTo>
                <a:lnTo>
                  <a:pt x="18419" y="9657"/>
                </a:lnTo>
                <a:cubicBezTo>
                  <a:pt x="18351" y="9638"/>
                  <a:pt x="18283" y="9618"/>
                  <a:pt x="18217" y="9598"/>
                </a:cubicBezTo>
                <a:lnTo>
                  <a:pt x="18036" y="10809"/>
                </a:lnTo>
                <a:close/>
                <a:moveTo>
                  <a:pt x="16309" y="8894"/>
                </a:moveTo>
                <a:lnTo>
                  <a:pt x="16309" y="8894"/>
                </a:lnTo>
                <a:cubicBezTo>
                  <a:pt x="16241" y="8868"/>
                  <a:pt x="16173" y="8842"/>
                  <a:pt x="16105" y="8817"/>
                </a:cubicBezTo>
                <a:lnTo>
                  <a:pt x="15960" y="10760"/>
                </a:lnTo>
                <a:cubicBezTo>
                  <a:pt x="16000" y="10776"/>
                  <a:pt x="16040" y="10792"/>
                  <a:pt x="16080" y="10809"/>
                </a:cubicBezTo>
                <a:lnTo>
                  <a:pt x="16166" y="10809"/>
                </a:lnTo>
                <a:lnTo>
                  <a:pt x="16309" y="8894"/>
                </a:lnTo>
                <a:close/>
                <a:moveTo>
                  <a:pt x="14085" y="8375"/>
                </a:moveTo>
                <a:lnTo>
                  <a:pt x="14085" y="8375"/>
                </a:lnTo>
                <a:cubicBezTo>
                  <a:pt x="14050" y="8374"/>
                  <a:pt x="14016" y="8371"/>
                  <a:pt x="13981" y="8371"/>
                </a:cubicBezTo>
                <a:cubicBezTo>
                  <a:pt x="13945" y="8371"/>
                  <a:pt x="13911" y="8374"/>
                  <a:pt x="13876" y="8375"/>
                </a:cubicBezTo>
                <a:lnTo>
                  <a:pt x="13876" y="10393"/>
                </a:lnTo>
                <a:cubicBezTo>
                  <a:pt x="13911" y="10393"/>
                  <a:pt x="13945" y="10391"/>
                  <a:pt x="13981" y="10391"/>
                </a:cubicBezTo>
                <a:cubicBezTo>
                  <a:pt x="14016" y="10391"/>
                  <a:pt x="14050" y="10393"/>
                  <a:pt x="14085" y="10393"/>
                </a:cubicBezTo>
                <a:lnTo>
                  <a:pt x="14085" y="8375"/>
                </a:lnTo>
                <a:close/>
                <a:moveTo>
                  <a:pt x="19200" y="10809"/>
                </a:moveTo>
                <a:lnTo>
                  <a:pt x="19200" y="10809"/>
                </a:lnTo>
                <a:lnTo>
                  <a:pt x="19200" y="10144"/>
                </a:lnTo>
                <a:lnTo>
                  <a:pt x="19075" y="10809"/>
                </a:lnTo>
                <a:lnTo>
                  <a:pt x="19200" y="10809"/>
                </a:lnTo>
                <a:close/>
                <a:moveTo>
                  <a:pt x="17179" y="2356"/>
                </a:moveTo>
                <a:lnTo>
                  <a:pt x="17179" y="2356"/>
                </a:lnTo>
                <a:lnTo>
                  <a:pt x="17328" y="2356"/>
                </a:lnTo>
                <a:cubicBezTo>
                  <a:pt x="17349" y="2356"/>
                  <a:pt x="17369" y="2358"/>
                  <a:pt x="17390" y="2358"/>
                </a:cubicBezTo>
                <a:lnTo>
                  <a:pt x="17141" y="137"/>
                </a:lnTo>
                <a:cubicBezTo>
                  <a:pt x="17076" y="182"/>
                  <a:pt x="17011" y="226"/>
                  <a:pt x="16945" y="269"/>
                </a:cubicBezTo>
                <a:lnTo>
                  <a:pt x="17179" y="2356"/>
                </a:lnTo>
                <a:close/>
                <a:moveTo>
                  <a:pt x="13981" y="10704"/>
                </a:moveTo>
                <a:lnTo>
                  <a:pt x="13981" y="10704"/>
                </a:lnTo>
                <a:cubicBezTo>
                  <a:pt x="13625" y="10704"/>
                  <a:pt x="13277" y="10740"/>
                  <a:pt x="12942" y="10809"/>
                </a:cubicBezTo>
                <a:lnTo>
                  <a:pt x="15019" y="10809"/>
                </a:lnTo>
                <a:cubicBezTo>
                  <a:pt x="14684" y="10740"/>
                  <a:pt x="14336" y="10704"/>
                  <a:pt x="13981" y="10704"/>
                </a:cubicBezTo>
                <a:close/>
                <a:moveTo>
                  <a:pt x="7670" y="10022"/>
                </a:moveTo>
                <a:lnTo>
                  <a:pt x="7670" y="10022"/>
                </a:lnTo>
                <a:cubicBezTo>
                  <a:pt x="7601" y="10030"/>
                  <a:pt x="7532" y="10037"/>
                  <a:pt x="7461" y="10044"/>
                </a:cubicBezTo>
                <a:lnTo>
                  <a:pt x="7632" y="10809"/>
                </a:lnTo>
                <a:lnTo>
                  <a:pt x="7846" y="10809"/>
                </a:lnTo>
                <a:lnTo>
                  <a:pt x="7670" y="10022"/>
                </a:lnTo>
                <a:close/>
                <a:moveTo>
                  <a:pt x="14929" y="10474"/>
                </a:moveTo>
                <a:lnTo>
                  <a:pt x="14929" y="10474"/>
                </a:lnTo>
                <a:cubicBezTo>
                  <a:pt x="14998" y="10486"/>
                  <a:pt x="15068" y="10499"/>
                  <a:pt x="15136" y="10514"/>
                </a:cubicBezTo>
                <a:lnTo>
                  <a:pt x="15210" y="8532"/>
                </a:lnTo>
                <a:cubicBezTo>
                  <a:pt x="15142" y="8515"/>
                  <a:pt x="15073" y="8497"/>
                  <a:pt x="15003" y="8482"/>
                </a:cubicBezTo>
                <a:lnTo>
                  <a:pt x="14929" y="10474"/>
                </a:lnTo>
                <a:close/>
                <a:moveTo>
                  <a:pt x="16996" y="10809"/>
                </a:moveTo>
                <a:lnTo>
                  <a:pt x="16996" y="10809"/>
                </a:lnTo>
                <a:lnTo>
                  <a:pt x="17206" y="10809"/>
                </a:lnTo>
                <a:lnTo>
                  <a:pt x="17374" y="9309"/>
                </a:lnTo>
                <a:cubicBezTo>
                  <a:pt x="17307" y="9283"/>
                  <a:pt x="17239" y="9258"/>
                  <a:pt x="17173" y="9232"/>
                </a:cubicBezTo>
                <a:lnTo>
                  <a:pt x="16996" y="10809"/>
                </a:lnTo>
                <a:close/>
                <a:moveTo>
                  <a:pt x="18330" y="2688"/>
                </a:moveTo>
                <a:lnTo>
                  <a:pt x="18330" y="2688"/>
                </a:lnTo>
                <a:cubicBezTo>
                  <a:pt x="18415" y="2751"/>
                  <a:pt x="18496" y="2819"/>
                  <a:pt x="18571" y="2891"/>
                </a:cubicBezTo>
                <a:lnTo>
                  <a:pt x="18139" y="0"/>
                </a:lnTo>
                <a:lnTo>
                  <a:pt x="17927" y="0"/>
                </a:lnTo>
                <a:lnTo>
                  <a:pt x="18330" y="2688"/>
                </a:lnTo>
                <a:close/>
                <a:moveTo>
                  <a:pt x="8709" y="9862"/>
                </a:moveTo>
                <a:lnTo>
                  <a:pt x="8709" y="9862"/>
                </a:lnTo>
                <a:cubicBezTo>
                  <a:pt x="8641" y="9876"/>
                  <a:pt x="8573" y="9889"/>
                  <a:pt x="8504" y="9902"/>
                </a:cubicBezTo>
                <a:lnTo>
                  <a:pt x="8673" y="10809"/>
                </a:lnTo>
                <a:lnTo>
                  <a:pt x="8886" y="10809"/>
                </a:lnTo>
                <a:lnTo>
                  <a:pt x="8709" y="9862"/>
                </a:lnTo>
                <a:close/>
                <a:moveTo>
                  <a:pt x="10788" y="9232"/>
                </a:moveTo>
                <a:lnTo>
                  <a:pt x="10788" y="9232"/>
                </a:lnTo>
                <a:cubicBezTo>
                  <a:pt x="10722" y="9258"/>
                  <a:pt x="10654" y="9283"/>
                  <a:pt x="10587" y="9309"/>
                </a:cubicBezTo>
                <a:lnTo>
                  <a:pt x="10755" y="10809"/>
                </a:lnTo>
                <a:lnTo>
                  <a:pt x="10965" y="10809"/>
                </a:lnTo>
                <a:lnTo>
                  <a:pt x="10788" y="9232"/>
                </a:lnTo>
                <a:close/>
                <a:moveTo>
                  <a:pt x="9744" y="9598"/>
                </a:moveTo>
                <a:lnTo>
                  <a:pt x="9744" y="9598"/>
                </a:lnTo>
                <a:cubicBezTo>
                  <a:pt x="9678" y="9618"/>
                  <a:pt x="9610" y="9638"/>
                  <a:pt x="9542" y="9657"/>
                </a:cubicBezTo>
                <a:lnTo>
                  <a:pt x="9714" y="10809"/>
                </a:lnTo>
                <a:lnTo>
                  <a:pt x="9925" y="10809"/>
                </a:lnTo>
                <a:lnTo>
                  <a:pt x="9744" y="9598"/>
                </a:lnTo>
                <a:close/>
                <a:moveTo>
                  <a:pt x="12001" y="10760"/>
                </a:moveTo>
                <a:lnTo>
                  <a:pt x="12001" y="10760"/>
                </a:lnTo>
                <a:lnTo>
                  <a:pt x="11856" y="8817"/>
                </a:lnTo>
                <a:cubicBezTo>
                  <a:pt x="11788" y="8842"/>
                  <a:pt x="11720" y="8868"/>
                  <a:pt x="11652" y="8894"/>
                </a:cubicBezTo>
                <a:lnTo>
                  <a:pt x="11795" y="10809"/>
                </a:lnTo>
                <a:lnTo>
                  <a:pt x="11881" y="10809"/>
                </a:lnTo>
                <a:cubicBezTo>
                  <a:pt x="11921" y="10792"/>
                  <a:pt x="11961" y="10776"/>
                  <a:pt x="12001" y="10760"/>
                </a:cubicBezTo>
                <a:close/>
                <a:moveTo>
                  <a:pt x="13032" y="10474"/>
                </a:moveTo>
                <a:lnTo>
                  <a:pt x="13032" y="10474"/>
                </a:lnTo>
                <a:cubicBezTo>
                  <a:pt x="12963" y="10486"/>
                  <a:pt x="12893" y="10499"/>
                  <a:pt x="12825" y="10514"/>
                </a:cubicBezTo>
                <a:lnTo>
                  <a:pt x="12751" y="8532"/>
                </a:lnTo>
                <a:cubicBezTo>
                  <a:pt x="12819" y="8514"/>
                  <a:pt x="12888" y="8497"/>
                  <a:pt x="12958" y="8482"/>
                </a:cubicBezTo>
                <a:lnTo>
                  <a:pt x="13032" y="10474"/>
                </a:lnTo>
                <a:close/>
              </a:path>
            </a:pathLst>
          </a:custGeom>
          <a:solidFill>
            <a:srgbClr val="D9D9D6">
              <a:alpha val="25000"/>
            </a:srgbClr>
          </a:solidFill>
          <a:ln w="0">
            <a:noFill/>
            <a:prstDash val="solid"/>
            <a:round/>
            <a:headEnd/>
            <a:tailEnd/>
          </a:ln>
        </p:spPr>
        <p:txBody>
          <a:bodyPr vert="horz" wrap="square" lIns="121920" tIns="60960" rIns="121920" bIns="60960" numCol="1" anchor="t" anchorCtr="0" compatLnSpc="1">
            <a:prstTxWarp prst="textNoShape">
              <a:avLst/>
            </a:prstTxWarp>
          </a:bodyPr>
          <a:lstStyle/>
          <a:p>
            <a:pPr lvl="0"/>
            <a:endParaRPr lang="en-US" sz="2400"/>
          </a:p>
        </p:txBody>
      </p:sp>
      <p:sp>
        <p:nvSpPr>
          <p:cNvPr id="2" name="Title 1">
            <a:extLst>
              <a:ext uri="{FF2B5EF4-FFF2-40B4-BE49-F238E27FC236}">
                <a16:creationId xmlns:a16="http://schemas.microsoft.com/office/drawing/2014/main" id="{F9AC90E9-8548-4F44-A404-4532EB3B482D}"/>
              </a:ext>
            </a:extLst>
          </p:cNvPr>
          <p:cNvSpPr>
            <a:spLocks noGrp="1"/>
          </p:cNvSpPr>
          <p:nvPr>
            <p:ph type="title" hasCustomPrompt="1"/>
          </p:nvPr>
        </p:nvSpPr>
        <p:spPr>
          <a:xfrm>
            <a:off x="609601" y="546101"/>
            <a:ext cx="9266767" cy="2255519"/>
          </a:xfrm>
        </p:spPr>
        <p:txBody>
          <a:bodyPr rIns="137160" anchor="b" anchorCtr="0"/>
          <a:lstStyle>
            <a:lvl1pPr>
              <a:defRPr sz="4267" spc="-80" baseline="0"/>
            </a:lvl1pPr>
          </a:lstStyle>
          <a:p>
            <a:r>
              <a:rPr lang="en-US"/>
              <a:t>Section header title</a:t>
            </a:r>
          </a:p>
        </p:txBody>
      </p:sp>
      <p:sp>
        <p:nvSpPr>
          <p:cNvPr id="3" name="Text Placeholder 2">
            <a:extLst>
              <a:ext uri="{FF2B5EF4-FFF2-40B4-BE49-F238E27FC236}">
                <a16:creationId xmlns:a16="http://schemas.microsoft.com/office/drawing/2014/main" id="{0E07319C-9A3D-6A49-8F17-E79484E38275}"/>
              </a:ext>
            </a:extLst>
          </p:cNvPr>
          <p:cNvSpPr>
            <a:spLocks noGrp="1"/>
          </p:cNvSpPr>
          <p:nvPr>
            <p:ph type="body" idx="1" hasCustomPrompt="1"/>
          </p:nvPr>
        </p:nvSpPr>
        <p:spPr>
          <a:xfrm>
            <a:off x="609602" y="2987041"/>
            <a:ext cx="5304365" cy="608356"/>
          </a:xfrm>
        </p:spPr>
        <p:txBody>
          <a:bodyPr>
            <a:noAutofit/>
          </a:bodyPr>
          <a:lstStyle>
            <a:lvl1pPr marL="0" indent="0">
              <a:spcBef>
                <a:spcPts val="0"/>
              </a:spcBef>
              <a:buNone/>
              <a:defRPr sz="1333" cap="none" baseline="0">
                <a:solidFill>
                  <a:schemeClr val="tx1"/>
                </a:solidFill>
              </a:defRPr>
            </a:lvl1pPr>
            <a:lvl2pPr marL="0" indent="0">
              <a:spcBef>
                <a:spcPts val="0"/>
              </a:spcBef>
              <a:buNone/>
              <a:defRPr sz="1333" cap="all" baseline="0">
                <a:solidFill>
                  <a:schemeClr val="tx1"/>
                </a:solidFill>
              </a:defRPr>
            </a:lvl2pPr>
            <a:lvl3pPr marL="0" indent="0">
              <a:spcBef>
                <a:spcPts val="0"/>
              </a:spcBef>
              <a:buNone/>
              <a:defRPr sz="1333" cap="all" baseline="0">
                <a:solidFill>
                  <a:schemeClr val="tx1"/>
                </a:solidFill>
              </a:defRPr>
            </a:lvl3pPr>
            <a:lvl4pPr marL="0" indent="0">
              <a:spcBef>
                <a:spcPts val="0"/>
              </a:spcBef>
              <a:buNone/>
              <a:defRPr sz="1333" cap="all" baseline="0">
                <a:solidFill>
                  <a:schemeClr val="tx1"/>
                </a:solidFill>
              </a:defRPr>
            </a:lvl4pPr>
            <a:lvl5pPr marL="0" indent="0">
              <a:spcBef>
                <a:spcPts val="0"/>
              </a:spcBef>
              <a:buNone/>
              <a:defRPr sz="1333" cap="all" baseline="0">
                <a:solidFill>
                  <a:schemeClr val="tx1"/>
                </a:solidFill>
              </a:defRPr>
            </a:lvl5pPr>
            <a:lvl6pPr marL="0" indent="0">
              <a:spcBef>
                <a:spcPts val="0"/>
              </a:spcBef>
              <a:buNone/>
              <a:defRPr sz="1333" cap="all" baseline="0">
                <a:solidFill>
                  <a:schemeClr val="tx1"/>
                </a:solidFill>
              </a:defRPr>
            </a:lvl6pPr>
            <a:lvl7pPr marL="0" indent="0">
              <a:spcBef>
                <a:spcPts val="0"/>
              </a:spcBef>
              <a:buNone/>
              <a:defRPr sz="1333" cap="all" baseline="0">
                <a:solidFill>
                  <a:schemeClr val="tx1"/>
                </a:solidFill>
              </a:defRPr>
            </a:lvl7pPr>
            <a:lvl8pPr marL="0" indent="0">
              <a:spcBef>
                <a:spcPts val="0"/>
              </a:spcBef>
              <a:buNone/>
              <a:defRPr sz="1333" cap="all" baseline="0">
                <a:solidFill>
                  <a:schemeClr val="tx1"/>
                </a:solidFill>
              </a:defRPr>
            </a:lvl8pPr>
            <a:lvl9pPr marL="0" indent="0">
              <a:spcBef>
                <a:spcPts val="0"/>
              </a:spcBef>
              <a:buNone/>
              <a:defRPr sz="1333" cap="all" baseline="0">
                <a:solidFill>
                  <a:schemeClr val="tx1"/>
                </a:solidFill>
              </a:defRPr>
            </a:lvl9pPr>
          </a:lstStyle>
          <a:p>
            <a:pPr lvl="0"/>
            <a:r>
              <a:rPr lang="en-US"/>
              <a:t>Optional subtitle</a:t>
            </a:r>
          </a:p>
        </p:txBody>
      </p:sp>
    </p:spTree>
    <p:extLst>
      <p:ext uri="{BB962C8B-B14F-4D97-AF65-F5344CB8AC3E}">
        <p14:creationId xmlns:p14="http://schemas.microsoft.com/office/powerpoint/2010/main" val="557954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03 Gray">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394928BC-ACC1-F744-BDCA-844252C7B843}"/>
              </a:ext>
            </a:extLst>
          </p:cNvPr>
          <p:cNvSpPr>
            <a:spLocks noEditPoints="1"/>
          </p:cNvSpPr>
          <p:nvPr userDrawn="1"/>
        </p:nvSpPr>
        <p:spPr bwMode="hidden">
          <a:xfrm>
            <a:off x="0" y="0"/>
            <a:ext cx="12192000" cy="6858000"/>
          </a:xfrm>
          <a:custGeom>
            <a:avLst/>
            <a:gdLst>
              <a:gd name="T0" fmla="*/ 17163 w 19200"/>
              <a:gd name="T1" fmla="*/ 6575 h 10809"/>
              <a:gd name="T2" fmla="*/ 17052 w 19200"/>
              <a:gd name="T3" fmla="*/ 6382 h 10809"/>
              <a:gd name="T4" fmla="*/ 18502 w 19200"/>
              <a:gd name="T5" fmla="*/ 6504 h 10809"/>
              <a:gd name="T6" fmla="*/ 19080 w 19200"/>
              <a:gd name="T7" fmla="*/ 6835 h 10809"/>
              <a:gd name="T8" fmla="*/ 3072 w 19200"/>
              <a:gd name="T9" fmla="*/ 5298 h 10809"/>
              <a:gd name="T10" fmla="*/ 3164 w 19200"/>
              <a:gd name="T11" fmla="*/ 5603 h 10809"/>
              <a:gd name="T12" fmla="*/ 7795 w 19200"/>
              <a:gd name="T13" fmla="*/ 0 h 10809"/>
              <a:gd name="T14" fmla="*/ 10034 w 19200"/>
              <a:gd name="T15" fmla="*/ 0 h 10809"/>
              <a:gd name="T16" fmla="*/ 15218 w 19200"/>
              <a:gd name="T17" fmla="*/ 3216 h 10809"/>
              <a:gd name="T18" fmla="*/ 16154 w 19200"/>
              <a:gd name="T19" fmla="*/ 3362 h 10809"/>
              <a:gd name="T20" fmla="*/ 10633 w 19200"/>
              <a:gd name="T21" fmla="*/ 2356 h 10809"/>
              <a:gd name="T22" fmla="*/ 12001 w 19200"/>
              <a:gd name="T23" fmla="*/ 770 h 10809"/>
              <a:gd name="T24" fmla="*/ 13981 w 19200"/>
              <a:gd name="T25" fmla="*/ 827 h 10809"/>
              <a:gd name="T26" fmla="*/ 6291 w 19200"/>
              <a:gd name="T27" fmla="*/ 5727 h 10809"/>
              <a:gd name="T28" fmla="*/ 6291 w 19200"/>
              <a:gd name="T29" fmla="*/ 9042 h 10809"/>
              <a:gd name="T30" fmla="*/ 5190 w 19200"/>
              <a:gd name="T31" fmla="*/ 2655 h 10809"/>
              <a:gd name="T32" fmla="*/ 4159 w 19200"/>
              <a:gd name="T33" fmla="*/ 7282 h 10809"/>
              <a:gd name="T34" fmla="*/ 3462 w 19200"/>
              <a:gd name="T35" fmla="*/ 7576 h 10809"/>
              <a:gd name="T36" fmla="*/ 4973 w 19200"/>
              <a:gd name="T37" fmla="*/ 0 h 10809"/>
              <a:gd name="T38" fmla="*/ 15381 w 19200"/>
              <a:gd name="T39" fmla="*/ 6525 h 10809"/>
              <a:gd name="T40" fmla="*/ 16342 w 19200"/>
              <a:gd name="T41" fmla="*/ 5679 h 10809"/>
              <a:gd name="T42" fmla="*/ 12099 w 19200"/>
              <a:gd name="T43" fmla="*/ 5524 h 10809"/>
              <a:gd name="T44" fmla="*/ 12569 w 19200"/>
              <a:gd name="T45" fmla="*/ 6527 h 10809"/>
              <a:gd name="T46" fmla="*/ 6418 w 19200"/>
              <a:gd name="T47" fmla="*/ 6864 h 10809"/>
              <a:gd name="T48" fmla="*/ 5498 w 19200"/>
              <a:gd name="T49" fmla="*/ 8069 h 10809"/>
              <a:gd name="T50" fmla="*/ 10735 w 19200"/>
              <a:gd name="T51" fmla="*/ 5754 h 10809"/>
              <a:gd name="T52" fmla="*/ 14267 w 19200"/>
              <a:gd name="T53" fmla="*/ 6393 h 10809"/>
              <a:gd name="T54" fmla="*/ 14072 w 19200"/>
              <a:gd name="T55" fmla="*/ 6389 h 10809"/>
              <a:gd name="T56" fmla="*/ 7025 w 19200"/>
              <a:gd name="T57" fmla="*/ 7878 h 10809"/>
              <a:gd name="T58" fmla="*/ 8797 w 19200"/>
              <a:gd name="T59" fmla="*/ 6737 h 10809"/>
              <a:gd name="T60" fmla="*/ 8778 w 19200"/>
              <a:gd name="T61" fmla="*/ 7285 h 10809"/>
              <a:gd name="T62" fmla="*/ 9851 w 19200"/>
              <a:gd name="T63" fmla="*/ 7472 h 10809"/>
              <a:gd name="T64" fmla="*/ 1599 w 19200"/>
              <a:gd name="T65" fmla="*/ 2604 h 10809"/>
              <a:gd name="T66" fmla="*/ 6619 w 19200"/>
              <a:gd name="T67" fmla="*/ 10090 h 10809"/>
              <a:gd name="T68" fmla="*/ 3374 w 19200"/>
              <a:gd name="T69" fmla="*/ 9872 h 10809"/>
              <a:gd name="T70" fmla="*/ 0 w 19200"/>
              <a:gd name="T71" fmla="*/ 8877 h 10809"/>
              <a:gd name="T72" fmla="*/ 1259 w 19200"/>
              <a:gd name="T73" fmla="*/ 10809 h 10809"/>
              <a:gd name="T74" fmla="*/ 906 w 19200"/>
              <a:gd name="T75" fmla="*/ 8456 h 10809"/>
              <a:gd name="T76" fmla="*/ 6086 w 19200"/>
              <a:gd name="T77" fmla="*/ 3235 h 10809"/>
              <a:gd name="T78" fmla="*/ 3904 w 19200"/>
              <a:gd name="T79" fmla="*/ 1884 h 10809"/>
              <a:gd name="T80" fmla="*/ 7711 w 19200"/>
              <a:gd name="T81" fmla="*/ 3891 h 10809"/>
              <a:gd name="T82" fmla="*/ 3270 w 19200"/>
              <a:gd name="T83" fmla="*/ 1249 h 10809"/>
              <a:gd name="T84" fmla="*/ 3058 w 19200"/>
              <a:gd name="T85" fmla="*/ 10809 h 10809"/>
              <a:gd name="T86" fmla="*/ 13980 w 19200"/>
              <a:gd name="T87" fmla="*/ 8057 h 10809"/>
              <a:gd name="T88" fmla="*/ 19200 w 19200"/>
              <a:gd name="T89" fmla="*/ 4981 h 10809"/>
              <a:gd name="T90" fmla="*/ 17513 w 19200"/>
              <a:gd name="T91" fmla="*/ 4091 h 10809"/>
              <a:gd name="T92" fmla="*/ 8446 w 19200"/>
              <a:gd name="T93" fmla="*/ 3297 h 10809"/>
              <a:gd name="T94" fmla="*/ 4176 w 19200"/>
              <a:gd name="T95" fmla="*/ 0 h 10809"/>
              <a:gd name="T96" fmla="*/ 5794 w 19200"/>
              <a:gd name="T97" fmla="*/ 4268 h 10809"/>
              <a:gd name="T98" fmla="*/ 2572 w 19200"/>
              <a:gd name="T99" fmla="*/ 0 h 10809"/>
              <a:gd name="T100" fmla="*/ 4401 w 19200"/>
              <a:gd name="T101" fmla="*/ 10809 h 10809"/>
              <a:gd name="T102" fmla="*/ 10301 w 19200"/>
              <a:gd name="T103" fmla="*/ 3256 h 10809"/>
              <a:gd name="T104" fmla="*/ 16105 w 19200"/>
              <a:gd name="T105" fmla="*/ 8817 h 10809"/>
              <a:gd name="T106" fmla="*/ 13876 w 19200"/>
              <a:gd name="T107" fmla="*/ 10393 h 10809"/>
              <a:gd name="T108" fmla="*/ 17179 w 19200"/>
              <a:gd name="T109" fmla="*/ 2356 h 10809"/>
              <a:gd name="T110" fmla="*/ 12942 w 19200"/>
              <a:gd name="T111" fmla="*/ 10809 h 10809"/>
              <a:gd name="T112" fmla="*/ 14929 w 19200"/>
              <a:gd name="T113" fmla="*/ 10474 h 10809"/>
              <a:gd name="T114" fmla="*/ 17374 w 19200"/>
              <a:gd name="T115" fmla="*/ 9309 h 10809"/>
              <a:gd name="T116" fmla="*/ 8709 w 19200"/>
              <a:gd name="T117" fmla="*/ 9862 h 10809"/>
              <a:gd name="T118" fmla="*/ 10755 w 19200"/>
              <a:gd name="T119" fmla="*/ 10809 h 10809"/>
              <a:gd name="T120" fmla="*/ 12001 w 19200"/>
              <a:gd name="T121" fmla="*/ 10760 h 10809"/>
              <a:gd name="T122" fmla="*/ 12825 w 19200"/>
              <a:gd name="T123" fmla="*/ 10514 h 10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00" h="10809">
                <a:moveTo>
                  <a:pt x="9021" y="0"/>
                </a:moveTo>
                <a:lnTo>
                  <a:pt x="9021" y="0"/>
                </a:lnTo>
                <a:lnTo>
                  <a:pt x="8809" y="0"/>
                </a:lnTo>
                <a:lnTo>
                  <a:pt x="8249" y="2990"/>
                </a:lnTo>
                <a:cubicBezTo>
                  <a:pt x="8339" y="2985"/>
                  <a:pt x="8394" y="2984"/>
                  <a:pt x="8463" y="2984"/>
                </a:cubicBezTo>
                <a:lnTo>
                  <a:pt x="9021" y="0"/>
                </a:lnTo>
                <a:close/>
                <a:moveTo>
                  <a:pt x="16748" y="6933"/>
                </a:moveTo>
                <a:lnTo>
                  <a:pt x="16748" y="6933"/>
                </a:lnTo>
                <a:lnTo>
                  <a:pt x="17163" y="6575"/>
                </a:lnTo>
                <a:lnTo>
                  <a:pt x="17538" y="7226"/>
                </a:lnTo>
                <a:lnTo>
                  <a:pt x="17853" y="7362"/>
                </a:lnTo>
                <a:lnTo>
                  <a:pt x="17341" y="6464"/>
                </a:lnTo>
                <a:lnTo>
                  <a:pt x="17810" y="6054"/>
                </a:lnTo>
                <a:lnTo>
                  <a:pt x="17581" y="5960"/>
                </a:lnTo>
                <a:lnTo>
                  <a:pt x="17233" y="6274"/>
                </a:lnTo>
                <a:lnTo>
                  <a:pt x="16874" y="5644"/>
                </a:lnTo>
                <a:cubicBezTo>
                  <a:pt x="16773" y="5608"/>
                  <a:pt x="16671" y="5572"/>
                  <a:pt x="16566" y="5538"/>
                </a:cubicBezTo>
                <a:lnTo>
                  <a:pt x="17052" y="6382"/>
                </a:lnTo>
                <a:lnTo>
                  <a:pt x="16525" y="6851"/>
                </a:lnTo>
                <a:cubicBezTo>
                  <a:pt x="16600" y="6877"/>
                  <a:pt x="16675" y="6905"/>
                  <a:pt x="16748" y="6933"/>
                </a:cubicBezTo>
                <a:close/>
                <a:moveTo>
                  <a:pt x="19200" y="250"/>
                </a:moveTo>
                <a:lnTo>
                  <a:pt x="19200" y="250"/>
                </a:lnTo>
                <a:lnTo>
                  <a:pt x="19153" y="0"/>
                </a:lnTo>
                <a:lnTo>
                  <a:pt x="18940" y="0"/>
                </a:lnTo>
                <a:lnTo>
                  <a:pt x="19200" y="1387"/>
                </a:lnTo>
                <a:lnTo>
                  <a:pt x="19200" y="250"/>
                </a:lnTo>
                <a:close/>
                <a:moveTo>
                  <a:pt x="18502" y="6504"/>
                </a:moveTo>
                <a:lnTo>
                  <a:pt x="18502" y="6504"/>
                </a:lnTo>
                <a:lnTo>
                  <a:pt x="18257" y="6427"/>
                </a:lnTo>
                <a:lnTo>
                  <a:pt x="18257" y="6810"/>
                </a:lnTo>
                <a:lnTo>
                  <a:pt x="18502" y="6887"/>
                </a:lnTo>
                <a:cubicBezTo>
                  <a:pt x="18722" y="6959"/>
                  <a:pt x="18867" y="6983"/>
                  <a:pt x="18867" y="6798"/>
                </a:cubicBezTo>
                <a:cubicBezTo>
                  <a:pt x="18867" y="6649"/>
                  <a:pt x="18728" y="6578"/>
                  <a:pt x="18502" y="6504"/>
                </a:cubicBezTo>
                <a:close/>
                <a:moveTo>
                  <a:pt x="18689" y="6358"/>
                </a:moveTo>
                <a:lnTo>
                  <a:pt x="18689" y="6358"/>
                </a:lnTo>
                <a:cubicBezTo>
                  <a:pt x="18957" y="6473"/>
                  <a:pt x="19080" y="6612"/>
                  <a:pt x="19080" y="6835"/>
                </a:cubicBezTo>
                <a:cubicBezTo>
                  <a:pt x="19080" y="7033"/>
                  <a:pt x="18908" y="7224"/>
                  <a:pt x="18522" y="7097"/>
                </a:cubicBezTo>
                <a:lnTo>
                  <a:pt x="18257" y="7011"/>
                </a:lnTo>
                <a:lnTo>
                  <a:pt x="18257" y="7520"/>
                </a:lnTo>
                <a:lnTo>
                  <a:pt x="18044" y="7440"/>
                </a:lnTo>
                <a:lnTo>
                  <a:pt x="18044" y="6140"/>
                </a:lnTo>
                <a:cubicBezTo>
                  <a:pt x="18479" y="6275"/>
                  <a:pt x="18614" y="6328"/>
                  <a:pt x="18689" y="6358"/>
                </a:cubicBezTo>
                <a:close/>
                <a:moveTo>
                  <a:pt x="6291" y="6258"/>
                </a:moveTo>
                <a:lnTo>
                  <a:pt x="6291" y="6258"/>
                </a:lnTo>
                <a:cubicBezTo>
                  <a:pt x="5059" y="6257"/>
                  <a:pt x="4031" y="5910"/>
                  <a:pt x="3072" y="5298"/>
                </a:cubicBezTo>
                <a:lnTo>
                  <a:pt x="2054" y="7565"/>
                </a:lnTo>
                <a:cubicBezTo>
                  <a:pt x="3391" y="8342"/>
                  <a:pt x="4795" y="8720"/>
                  <a:pt x="6291" y="8720"/>
                </a:cubicBezTo>
                <a:cubicBezTo>
                  <a:pt x="10201" y="8720"/>
                  <a:pt x="11122" y="6997"/>
                  <a:pt x="13980" y="6997"/>
                </a:cubicBezTo>
                <a:cubicBezTo>
                  <a:pt x="16116" y="6997"/>
                  <a:pt x="17171" y="7959"/>
                  <a:pt x="19200" y="8446"/>
                </a:cubicBezTo>
                <a:lnTo>
                  <a:pt x="19200" y="8231"/>
                </a:lnTo>
                <a:cubicBezTo>
                  <a:pt x="17207" y="7743"/>
                  <a:pt x="16161" y="6788"/>
                  <a:pt x="13980" y="6788"/>
                </a:cubicBezTo>
                <a:cubicBezTo>
                  <a:pt x="11051" y="6788"/>
                  <a:pt x="10170" y="8511"/>
                  <a:pt x="6291" y="8511"/>
                </a:cubicBezTo>
                <a:cubicBezTo>
                  <a:pt x="4888" y="8511"/>
                  <a:pt x="3518" y="8155"/>
                  <a:pt x="2322" y="7479"/>
                </a:cubicBezTo>
                <a:lnTo>
                  <a:pt x="3164" y="5603"/>
                </a:lnTo>
                <a:cubicBezTo>
                  <a:pt x="4092" y="6168"/>
                  <a:pt x="5171" y="6466"/>
                  <a:pt x="6291" y="6466"/>
                </a:cubicBezTo>
                <a:cubicBezTo>
                  <a:pt x="9740" y="6466"/>
                  <a:pt x="10436" y="4743"/>
                  <a:pt x="13981" y="4743"/>
                </a:cubicBezTo>
                <a:cubicBezTo>
                  <a:pt x="16483" y="4743"/>
                  <a:pt x="17566" y="5602"/>
                  <a:pt x="19200" y="6107"/>
                </a:cubicBezTo>
                <a:lnTo>
                  <a:pt x="19200" y="5888"/>
                </a:lnTo>
                <a:cubicBezTo>
                  <a:pt x="17600" y="5382"/>
                  <a:pt x="16508" y="4534"/>
                  <a:pt x="13981" y="4534"/>
                </a:cubicBezTo>
                <a:cubicBezTo>
                  <a:pt x="10376" y="4534"/>
                  <a:pt x="9693" y="6258"/>
                  <a:pt x="6291" y="6258"/>
                </a:cubicBezTo>
                <a:close/>
                <a:moveTo>
                  <a:pt x="8009" y="0"/>
                </a:moveTo>
                <a:lnTo>
                  <a:pt x="8009" y="0"/>
                </a:lnTo>
                <a:lnTo>
                  <a:pt x="7795" y="0"/>
                </a:lnTo>
                <a:lnTo>
                  <a:pt x="7044" y="3345"/>
                </a:lnTo>
                <a:cubicBezTo>
                  <a:pt x="7120" y="3303"/>
                  <a:pt x="7200" y="3261"/>
                  <a:pt x="7286" y="3221"/>
                </a:cubicBezTo>
                <a:lnTo>
                  <a:pt x="8009" y="0"/>
                </a:lnTo>
                <a:close/>
                <a:moveTo>
                  <a:pt x="10034" y="0"/>
                </a:moveTo>
                <a:lnTo>
                  <a:pt x="10034" y="0"/>
                </a:lnTo>
                <a:lnTo>
                  <a:pt x="9822" y="0"/>
                </a:lnTo>
                <a:lnTo>
                  <a:pt x="9390" y="2891"/>
                </a:lnTo>
                <a:cubicBezTo>
                  <a:pt x="9466" y="2819"/>
                  <a:pt x="9546" y="2751"/>
                  <a:pt x="9631" y="2688"/>
                </a:cubicBezTo>
                <a:lnTo>
                  <a:pt x="10034" y="0"/>
                </a:lnTo>
                <a:close/>
                <a:moveTo>
                  <a:pt x="6997" y="0"/>
                </a:moveTo>
                <a:lnTo>
                  <a:pt x="6997" y="0"/>
                </a:lnTo>
                <a:lnTo>
                  <a:pt x="6780" y="0"/>
                </a:lnTo>
                <a:lnTo>
                  <a:pt x="6126" y="2498"/>
                </a:lnTo>
                <a:cubicBezTo>
                  <a:pt x="6194" y="2494"/>
                  <a:pt x="6267" y="2491"/>
                  <a:pt x="6344" y="2490"/>
                </a:cubicBezTo>
                <a:lnTo>
                  <a:pt x="6997" y="0"/>
                </a:lnTo>
                <a:close/>
                <a:moveTo>
                  <a:pt x="15009" y="3195"/>
                </a:moveTo>
                <a:lnTo>
                  <a:pt x="15009" y="3195"/>
                </a:lnTo>
                <a:cubicBezTo>
                  <a:pt x="15080" y="3201"/>
                  <a:pt x="15150" y="3208"/>
                  <a:pt x="15218" y="3216"/>
                </a:cubicBezTo>
                <a:lnTo>
                  <a:pt x="15136" y="1017"/>
                </a:lnTo>
                <a:cubicBezTo>
                  <a:pt x="15068" y="1032"/>
                  <a:pt x="14998" y="1045"/>
                  <a:pt x="14929" y="1057"/>
                </a:cubicBezTo>
                <a:lnTo>
                  <a:pt x="15009" y="3195"/>
                </a:lnTo>
                <a:close/>
                <a:moveTo>
                  <a:pt x="16154" y="3362"/>
                </a:moveTo>
                <a:lnTo>
                  <a:pt x="16154" y="3362"/>
                </a:lnTo>
                <a:cubicBezTo>
                  <a:pt x="16226" y="3377"/>
                  <a:pt x="16297" y="3393"/>
                  <a:pt x="16367" y="3409"/>
                </a:cubicBezTo>
                <a:lnTo>
                  <a:pt x="16163" y="687"/>
                </a:lnTo>
                <a:cubicBezTo>
                  <a:pt x="16096" y="717"/>
                  <a:pt x="16028" y="744"/>
                  <a:pt x="15960" y="770"/>
                </a:cubicBezTo>
                <a:lnTo>
                  <a:pt x="16154" y="3362"/>
                </a:lnTo>
                <a:close/>
                <a:moveTo>
                  <a:pt x="13876" y="1137"/>
                </a:moveTo>
                <a:lnTo>
                  <a:pt x="13876" y="1137"/>
                </a:lnTo>
                <a:lnTo>
                  <a:pt x="13876" y="3152"/>
                </a:lnTo>
                <a:cubicBezTo>
                  <a:pt x="13911" y="3152"/>
                  <a:pt x="13945" y="3151"/>
                  <a:pt x="13981" y="3151"/>
                </a:cubicBezTo>
                <a:cubicBezTo>
                  <a:pt x="14016" y="3151"/>
                  <a:pt x="14050" y="3152"/>
                  <a:pt x="14085" y="3152"/>
                </a:cubicBezTo>
                <a:lnTo>
                  <a:pt x="14085" y="1137"/>
                </a:lnTo>
                <a:cubicBezTo>
                  <a:pt x="14050" y="1138"/>
                  <a:pt x="14016" y="1140"/>
                  <a:pt x="13981" y="1140"/>
                </a:cubicBezTo>
                <a:cubicBezTo>
                  <a:pt x="13945" y="1140"/>
                  <a:pt x="13911" y="1138"/>
                  <a:pt x="13876" y="1137"/>
                </a:cubicBezTo>
                <a:close/>
                <a:moveTo>
                  <a:pt x="10633" y="2356"/>
                </a:moveTo>
                <a:lnTo>
                  <a:pt x="10633" y="2356"/>
                </a:lnTo>
                <a:lnTo>
                  <a:pt x="10782" y="2356"/>
                </a:lnTo>
                <a:lnTo>
                  <a:pt x="11016" y="269"/>
                </a:lnTo>
                <a:cubicBezTo>
                  <a:pt x="10950" y="226"/>
                  <a:pt x="10885" y="182"/>
                  <a:pt x="10821" y="137"/>
                </a:cubicBezTo>
                <a:lnTo>
                  <a:pt x="10571" y="2358"/>
                </a:lnTo>
                <a:cubicBezTo>
                  <a:pt x="10592" y="2358"/>
                  <a:pt x="10612" y="2356"/>
                  <a:pt x="10633" y="2356"/>
                </a:cubicBezTo>
                <a:close/>
                <a:moveTo>
                  <a:pt x="11807" y="3362"/>
                </a:moveTo>
                <a:lnTo>
                  <a:pt x="11807" y="3362"/>
                </a:lnTo>
                <a:lnTo>
                  <a:pt x="12001" y="770"/>
                </a:lnTo>
                <a:cubicBezTo>
                  <a:pt x="11933" y="744"/>
                  <a:pt x="11865" y="717"/>
                  <a:pt x="11798" y="687"/>
                </a:cubicBezTo>
                <a:lnTo>
                  <a:pt x="11594" y="3409"/>
                </a:lnTo>
                <a:cubicBezTo>
                  <a:pt x="11664" y="3393"/>
                  <a:pt x="11735" y="3378"/>
                  <a:pt x="11807" y="3362"/>
                </a:cubicBezTo>
                <a:close/>
                <a:moveTo>
                  <a:pt x="16377" y="0"/>
                </a:moveTo>
                <a:lnTo>
                  <a:pt x="16377" y="0"/>
                </a:lnTo>
                <a:cubicBezTo>
                  <a:pt x="15666" y="393"/>
                  <a:pt x="14849" y="618"/>
                  <a:pt x="13981" y="618"/>
                </a:cubicBezTo>
                <a:cubicBezTo>
                  <a:pt x="13112" y="618"/>
                  <a:pt x="12295" y="393"/>
                  <a:pt x="11584" y="0"/>
                </a:cubicBezTo>
                <a:lnTo>
                  <a:pt x="11174" y="0"/>
                </a:lnTo>
                <a:cubicBezTo>
                  <a:pt x="11982" y="522"/>
                  <a:pt x="12946" y="827"/>
                  <a:pt x="13981" y="827"/>
                </a:cubicBezTo>
                <a:cubicBezTo>
                  <a:pt x="15015" y="827"/>
                  <a:pt x="15979" y="522"/>
                  <a:pt x="16787" y="0"/>
                </a:cubicBezTo>
                <a:lnTo>
                  <a:pt x="16377" y="0"/>
                </a:lnTo>
                <a:close/>
                <a:moveTo>
                  <a:pt x="12952" y="3195"/>
                </a:moveTo>
                <a:lnTo>
                  <a:pt x="12952" y="3195"/>
                </a:lnTo>
                <a:lnTo>
                  <a:pt x="13032" y="1057"/>
                </a:lnTo>
                <a:cubicBezTo>
                  <a:pt x="12963" y="1045"/>
                  <a:pt x="12893" y="1032"/>
                  <a:pt x="12825" y="1017"/>
                </a:cubicBezTo>
                <a:lnTo>
                  <a:pt x="12743" y="3216"/>
                </a:lnTo>
                <a:cubicBezTo>
                  <a:pt x="12811" y="3208"/>
                  <a:pt x="12881" y="3201"/>
                  <a:pt x="12952" y="3195"/>
                </a:cubicBezTo>
                <a:close/>
                <a:moveTo>
                  <a:pt x="6291" y="5727"/>
                </a:moveTo>
                <a:lnTo>
                  <a:pt x="6291" y="5727"/>
                </a:lnTo>
                <a:cubicBezTo>
                  <a:pt x="4914" y="5727"/>
                  <a:pt x="3700" y="5258"/>
                  <a:pt x="2633" y="4258"/>
                </a:cubicBezTo>
                <a:lnTo>
                  <a:pt x="1232" y="7663"/>
                </a:lnTo>
                <a:cubicBezTo>
                  <a:pt x="2786" y="8739"/>
                  <a:pt x="4492" y="9251"/>
                  <a:pt x="6291" y="9251"/>
                </a:cubicBezTo>
                <a:cubicBezTo>
                  <a:pt x="10232" y="9251"/>
                  <a:pt x="11352" y="7527"/>
                  <a:pt x="13980" y="7527"/>
                </a:cubicBezTo>
                <a:cubicBezTo>
                  <a:pt x="15959" y="7527"/>
                  <a:pt x="17083" y="8504"/>
                  <a:pt x="19200" y="8987"/>
                </a:cubicBezTo>
                <a:lnTo>
                  <a:pt x="19200" y="8771"/>
                </a:lnTo>
                <a:cubicBezTo>
                  <a:pt x="17122" y="8286"/>
                  <a:pt x="15995" y="7318"/>
                  <a:pt x="13980" y="7318"/>
                </a:cubicBezTo>
                <a:cubicBezTo>
                  <a:pt x="11294" y="7318"/>
                  <a:pt x="10185" y="9042"/>
                  <a:pt x="6291" y="9042"/>
                </a:cubicBezTo>
                <a:cubicBezTo>
                  <a:pt x="4553" y="9042"/>
                  <a:pt x="2895" y="8539"/>
                  <a:pt x="1490" y="7586"/>
                </a:cubicBezTo>
                <a:lnTo>
                  <a:pt x="2712" y="4615"/>
                </a:lnTo>
                <a:cubicBezTo>
                  <a:pt x="3676" y="5468"/>
                  <a:pt x="4941" y="5936"/>
                  <a:pt x="6291" y="5936"/>
                </a:cubicBezTo>
                <a:cubicBezTo>
                  <a:pt x="9615" y="5936"/>
                  <a:pt x="10290" y="4213"/>
                  <a:pt x="13981" y="4213"/>
                </a:cubicBezTo>
                <a:cubicBezTo>
                  <a:pt x="16541" y="4213"/>
                  <a:pt x="17650" y="5042"/>
                  <a:pt x="19200" y="5550"/>
                </a:cubicBezTo>
                <a:lnTo>
                  <a:pt x="19200" y="5329"/>
                </a:lnTo>
                <a:cubicBezTo>
                  <a:pt x="17682" y="4820"/>
                  <a:pt x="16555" y="4004"/>
                  <a:pt x="13981" y="4004"/>
                </a:cubicBezTo>
                <a:cubicBezTo>
                  <a:pt x="10242" y="4004"/>
                  <a:pt x="9554" y="5727"/>
                  <a:pt x="6291" y="5727"/>
                </a:cubicBezTo>
                <a:close/>
                <a:moveTo>
                  <a:pt x="5190" y="2655"/>
                </a:moveTo>
                <a:lnTo>
                  <a:pt x="5190" y="2655"/>
                </a:lnTo>
                <a:lnTo>
                  <a:pt x="5984" y="0"/>
                </a:lnTo>
                <a:lnTo>
                  <a:pt x="5766" y="0"/>
                </a:lnTo>
                <a:lnTo>
                  <a:pt x="4962" y="2689"/>
                </a:lnTo>
                <a:cubicBezTo>
                  <a:pt x="5039" y="2682"/>
                  <a:pt x="5114" y="2670"/>
                  <a:pt x="5190" y="2655"/>
                </a:cubicBezTo>
                <a:close/>
                <a:moveTo>
                  <a:pt x="3906" y="6587"/>
                </a:moveTo>
                <a:lnTo>
                  <a:pt x="3906" y="6587"/>
                </a:lnTo>
                <a:cubicBezTo>
                  <a:pt x="3891" y="6624"/>
                  <a:pt x="3785" y="6860"/>
                  <a:pt x="3679" y="7096"/>
                </a:cubicBezTo>
                <a:cubicBezTo>
                  <a:pt x="3839" y="7165"/>
                  <a:pt x="3999" y="7227"/>
                  <a:pt x="4159" y="7282"/>
                </a:cubicBezTo>
                <a:lnTo>
                  <a:pt x="3906" y="6587"/>
                </a:lnTo>
                <a:close/>
                <a:moveTo>
                  <a:pt x="3786" y="6365"/>
                </a:moveTo>
                <a:lnTo>
                  <a:pt x="3786" y="6365"/>
                </a:lnTo>
                <a:cubicBezTo>
                  <a:pt x="3889" y="6408"/>
                  <a:pt x="3992" y="6449"/>
                  <a:pt x="4098" y="6486"/>
                </a:cubicBezTo>
                <a:lnTo>
                  <a:pt x="4618" y="7928"/>
                </a:lnTo>
                <a:cubicBezTo>
                  <a:pt x="4535" y="7910"/>
                  <a:pt x="4454" y="7890"/>
                  <a:pt x="4372" y="7869"/>
                </a:cubicBezTo>
                <a:lnTo>
                  <a:pt x="4242" y="7513"/>
                </a:lnTo>
                <a:cubicBezTo>
                  <a:pt x="4028" y="7445"/>
                  <a:pt x="3813" y="7366"/>
                  <a:pt x="3598" y="7275"/>
                </a:cubicBezTo>
                <a:cubicBezTo>
                  <a:pt x="3539" y="7405"/>
                  <a:pt x="3488" y="7518"/>
                  <a:pt x="3462" y="7576"/>
                </a:cubicBezTo>
                <a:cubicBezTo>
                  <a:pt x="3396" y="7550"/>
                  <a:pt x="3330" y="7526"/>
                  <a:pt x="3265" y="7499"/>
                </a:cubicBezTo>
                <a:lnTo>
                  <a:pt x="3786" y="6365"/>
                </a:lnTo>
                <a:close/>
                <a:moveTo>
                  <a:pt x="0" y="4705"/>
                </a:moveTo>
                <a:lnTo>
                  <a:pt x="0" y="4705"/>
                </a:lnTo>
                <a:lnTo>
                  <a:pt x="1407" y="0"/>
                </a:lnTo>
                <a:lnTo>
                  <a:pt x="1189" y="0"/>
                </a:lnTo>
                <a:lnTo>
                  <a:pt x="0" y="3976"/>
                </a:lnTo>
                <a:lnTo>
                  <a:pt x="0" y="4705"/>
                </a:lnTo>
                <a:close/>
                <a:moveTo>
                  <a:pt x="4973" y="0"/>
                </a:moveTo>
                <a:lnTo>
                  <a:pt x="4973" y="0"/>
                </a:lnTo>
                <a:lnTo>
                  <a:pt x="4942" y="0"/>
                </a:lnTo>
                <a:cubicBezTo>
                  <a:pt x="4949" y="8"/>
                  <a:pt x="4957" y="17"/>
                  <a:pt x="4964" y="26"/>
                </a:cubicBezTo>
                <a:lnTo>
                  <a:pt x="4973" y="0"/>
                </a:lnTo>
                <a:close/>
                <a:moveTo>
                  <a:pt x="16342" y="5679"/>
                </a:moveTo>
                <a:lnTo>
                  <a:pt x="16342" y="5679"/>
                </a:lnTo>
                <a:cubicBezTo>
                  <a:pt x="16341" y="5608"/>
                  <a:pt x="16340" y="5537"/>
                  <a:pt x="16338" y="5466"/>
                </a:cubicBezTo>
                <a:cubicBezTo>
                  <a:pt x="16042" y="5378"/>
                  <a:pt x="15728" y="5303"/>
                  <a:pt x="15381" y="5248"/>
                </a:cubicBezTo>
                <a:lnTo>
                  <a:pt x="15381" y="6525"/>
                </a:lnTo>
                <a:cubicBezTo>
                  <a:pt x="15732" y="6596"/>
                  <a:pt x="16058" y="6690"/>
                  <a:pt x="16373" y="6797"/>
                </a:cubicBezTo>
                <a:cubicBezTo>
                  <a:pt x="16374" y="6726"/>
                  <a:pt x="16375" y="6654"/>
                  <a:pt x="16376" y="6582"/>
                </a:cubicBezTo>
                <a:cubicBezTo>
                  <a:pt x="16114" y="6494"/>
                  <a:pt x="15851" y="6419"/>
                  <a:pt x="15589" y="6356"/>
                </a:cubicBezTo>
                <a:lnTo>
                  <a:pt x="15589" y="6005"/>
                </a:lnTo>
                <a:cubicBezTo>
                  <a:pt x="15804" y="6056"/>
                  <a:pt x="16019" y="6116"/>
                  <a:pt x="16235" y="6184"/>
                </a:cubicBezTo>
                <a:lnTo>
                  <a:pt x="16235" y="5975"/>
                </a:lnTo>
                <a:cubicBezTo>
                  <a:pt x="16019" y="5907"/>
                  <a:pt x="15804" y="5847"/>
                  <a:pt x="15589" y="5796"/>
                </a:cubicBezTo>
                <a:lnTo>
                  <a:pt x="15589" y="5493"/>
                </a:lnTo>
                <a:cubicBezTo>
                  <a:pt x="15840" y="5543"/>
                  <a:pt x="16091" y="5605"/>
                  <a:pt x="16342" y="5679"/>
                </a:cubicBezTo>
                <a:close/>
                <a:moveTo>
                  <a:pt x="17896" y="3276"/>
                </a:moveTo>
                <a:lnTo>
                  <a:pt x="17896" y="3276"/>
                </a:lnTo>
                <a:cubicBezTo>
                  <a:pt x="17817" y="3218"/>
                  <a:pt x="17737" y="3172"/>
                  <a:pt x="17651" y="3141"/>
                </a:cubicBezTo>
                <a:cubicBezTo>
                  <a:pt x="17653" y="3180"/>
                  <a:pt x="17656" y="3218"/>
                  <a:pt x="17660" y="3256"/>
                </a:cubicBezTo>
                <a:cubicBezTo>
                  <a:pt x="17797" y="3586"/>
                  <a:pt x="17999" y="3880"/>
                  <a:pt x="18247" y="4130"/>
                </a:cubicBezTo>
                <a:cubicBezTo>
                  <a:pt x="18289" y="4147"/>
                  <a:pt x="18331" y="4165"/>
                  <a:pt x="18372" y="4182"/>
                </a:cubicBezTo>
                <a:cubicBezTo>
                  <a:pt x="18569" y="4263"/>
                  <a:pt x="18763" y="4343"/>
                  <a:pt x="18960" y="4419"/>
                </a:cubicBezTo>
                <a:cubicBezTo>
                  <a:pt x="18497" y="4153"/>
                  <a:pt x="18121" y="3758"/>
                  <a:pt x="17896" y="3276"/>
                </a:cubicBezTo>
                <a:close/>
                <a:moveTo>
                  <a:pt x="12099" y="5524"/>
                </a:moveTo>
                <a:lnTo>
                  <a:pt x="12099" y="5524"/>
                </a:lnTo>
                <a:cubicBezTo>
                  <a:pt x="12083" y="5569"/>
                  <a:pt x="11912" y="6041"/>
                  <a:pt x="11844" y="6230"/>
                </a:cubicBezTo>
                <a:cubicBezTo>
                  <a:pt x="12016" y="6169"/>
                  <a:pt x="12190" y="6121"/>
                  <a:pt x="12363" y="6089"/>
                </a:cubicBezTo>
                <a:cubicBezTo>
                  <a:pt x="12290" y="5935"/>
                  <a:pt x="12099" y="5524"/>
                  <a:pt x="12099" y="5524"/>
                </a:cubicBezTo>
                <a:close/>
                <a:moveTo>
                  <a:pt x="11948" y="5378"/>
                </a:moveTo>
                <a:lnTo>
                  <a:pt x="11948" y="5378"/>
                </a:lnTo>
                <a:cubicBezTo>
                  <a:pt x="12035" y="5356"/>
                  <a:pt x="12124" y="5336"/>
                  <a:pt x="12215" y="5316"/>
                </a:cubicBezTo>
                <a:cubicBezTo>
                  <a:pt x="12412" y="5705"/>
                  <a:pt x="12607" y="6098"/>
                  <a:pt x="12793" y="6485"/>
                </a:cubicBezTo>
                <a:cubicBezTo>
                  <a:pt x="12765" y="6490"/>
                  <a:pt x="12596" y="6520"/>
                  <a:pt x="12569" y="6527"/>
                </a:cubicBezTo>
                <a:cubicBezTo>
                  <a:pt x="12546" y="6477"/>
                  <a:pt x="12471" y="6319"/>
                  <a:pt x="12448" y="6269"/>
                </a:cubicBezTo>
                <a:cubicBezTo>
                  <a:pt x="12218" y="6308"/>
                  <a:pt x="11988" y="6374"/>
                  <a:pt x="11762" y="6463"/>
                </a:cubicBezTo>
                <a:cubicBezTo>
                  <a:pt x="11725" y="6568"/>
                  <a:pt x="11687" y="6673"/>
                  <a:pt x="11651" y="6775"/>
                </a:cubicBezTo>
                <a:cubicBezTo>
                  <a:pt x="11563" y="6805"/>
                  <a:pt x="11477" y="6835"/>
                  <a:pt x="11391" y="6866"/>
                </a:cubicBezTo>
                <a:cubicBezTo>
                  <a:pt x="11569" y="6380"/>
                  <a:pt x="11756" y="5880"/>
                  <a:pt x="11948" y="5378"/>
                </a:cubicBezTo>
                <a:close/>
                <a:moveTo>
                  <a:pt x="6291" y="8112"/>
                </a:moveTo>
                <a:lnTo>
                  <a:pt x="6291" y="8112"/>
                </a:lnTo>
                <a:cubicBezTo>
                  <a:pt x="6335" y="8112"/>
                  <a:pt x="6376" y="8111"/>
                  <a:pt x="6418" y="8110"/>
                </a:cubicBezTo>
                <a:lnTo>
                  <a:pt x="6418" y="6864"/>
                </a:lnTo>
                <a:cubicBezTo>
                  <a:pt x="6376" y="6864"/>
                  <a:pt x="6335" y="6866"/>
                  <a:pt x="6291" y="6866"/>
                </a:cubicBezTo>
                <a:cubicBezTo>
                  <a:pt x="6208" y="6866"/>
                  <a:pt x="6124" y="6862"/>
                  <a:pt x="6041" y="6858"/>
                </a:cubicBezTo>
                <a:lnTo>
                  <a:pt x="5634" y="7873"/>
                </a:lnTo>
                <a:cubicBezTo>
                  <a:pt x="5580" y="7722"/>
                  <a:pt x="5283" y="6964"/>
                  <a:pt x="5209" y="6775"/>
                </a:cubicBezTo>
                <a:cubicBezTo>
                  <a:pt x="5085" y="6754"/>
                  <a:pt x="4961" y="6729"/>
                  <a:pt x="4839" y="6702"/>
                </a:cubicBezTo>
                <a:lnTo>
                  <a:pt x="4830" y="7971"/>
                </a:lnTo>
                <a:cubicBezTo>
                  <a:pt x="4901" y="7985"/>
                  <a:pt x="4972" y="7998"/>
                  <a:pt x="5043" y="8009"/>
                </a:cubicBezTo>
                <a:cubicBezTo>
                  <a:pt x="5043" y="7786"/>
                  <a:pt x="5041" y="7094"/>
                  <a:pt x="5039" y="6947"/>
                </a:cubicBezTo>
                <a:cubicBezTo>
                  <a:pt x="5096" y="7101"/>
                  <a:pt x="5422" y="7885"/>
                  <a:pt x="5498" y="8069"/>
                </a:cubicBezTo>
                <a:cubicBezTo>
                  <a:pt x="5581" y="8078"/>
                  <a:pt x="5663" y="8085"/>
                  <a:pt x="5745" y="8091"/>
                </a:cubicBezTo>
                <a:cubicBezTo>
                  <a:pt x="5812" y="7941"/>
                  <a:pt x="6151" y="7181"/>
                  <a:pt x="6209" y="7023"/>
                </a:cubicBezTo>
                <a:cubicBezTo>
                  <a:pt x="6207" y="7175"/>
                  <a:pt x="6205" y="7916"/>
                  <a:pt x="6205" y="8110"/>
                </a:cubicBezTo>
                <a:cubicBezTo>
                  <a:pt x="6233" y="8110"/>
                  <a:pt x="6262" y="8112"/>
                  <a:pt x="6291" y="8112"/>
                </a:cubicBezTo>
                <a:close/>
                <a:moveTo>
                  <a:pt x="10743" y="5961"/>
                </a:moveTo>
                <a:lnTo>
                  <a:pt x="10743" y="5961"/>
                </a:lnTo>
                <a:cubicBezTo>
                  <a:pt x="10886" y="5915"/>
                  <a:pt x="11020" y="5927"/>
                  <a:pt x="11062" y="6071"/>
                </a:cubicBezTo>
                <a:lnTo>
                  <a:pt x="11265" y="6008"/>
                </a:lnTo>
                <a:cubicBezTo>
                  <a:pt x="11217" y="5741"/>
                  <a:pt x="10993" y="5670"/>
                  <a:pt x="10735" y="5754"/>
                </a:cubicBezTo>
                <a:cubicBezTo>
                  <a:pt x="10374" y="5870"/>
                  <a:pt x="10140" y="6218"/>
                  <a:pt x="10140" y="6639"/>
                </a:cubicBezTo>
                <a:cubicBezTo>
                  <a:pt x="10140" y="7049"/>
                  <a:pt x="10361" y="7275"/>
                  <a:pt x="10737" y="7153"/>
                </a:cubicBezTo>
                <a:cubicBezTo>
                  <a:pt x="11012" y="7064"/>
                  <a:pt x="11207" y="6850"/>
                  <a:pt x="11266" y="6582"/>
                </a:cubicBezTo>
                <a:lnTo>
                  <a:pt x="11046" y="6639"/>
                </a:lnTo>
                <a:cubicBezTo>
                  <a:pt x="10998" y="6791"/>
                  <a:pt x="10887" y="6904"/>
                  <a:pt x="10729" y="6955"/>
                </a:cubicBezTo>
                <a:cubicBezTo>
                  <a:pt x="10455" y="7044"/>
                  <a:pt x="10353" y="6859"/>
                  <a:pt x="10353" y="6572"/>
                </a:cubicBezTo>
                <a:cubicBezTo>
                  <a:pt x="10353" y="6342"/>
                  <a:pt x="10513" y="6035"/>
                  <a:pt x="10743" y="5961"/>
                </a:cubicBezTo>
                <a:close/>
                <a:moveTo>
                  <a:pt x="14267" y="6393"/>
                </a:moveTo>
                <a:lnTo>
                  <a:pt x="14267" y="6393"/>
                </a:lnTo>
                <a:lnTo>
                  <a:pt x="14267" y="5147"/>
                </a:lnTo>
                <a:cubicBezTo>
                  <a:pt x="14201" y="5145"/>
                  <a:pt x="14134" y="5144"/>
                  <a:pt x="14066" y="5144"/>
                </a:cubicBezTo>
                <a:cubicBezTo>
                  <a:pt x="14068" y="5448"/>
                  <a:pt x="14069" y="5752"/>
                  <a:pt x="14070" y="6057"/>
                </a:cubicBezTo>
                <a:cubicBezTo>
                  <a:pt x="13803" y="5749"/>
                  <a:pt x="13531" y="5455"/>
                  <a:pt x="13264" y="5169"/>
                </a:cubicBezTo>
                <a:cubicBezTo>
                  <a:pt x="13181" y="5175"/>
                  <a:pt x="13100" y="5182"/>
                  <a:pt x="13021" y="5190"/>
                </a:cubicBezTo>
                <a:lnTo>
                  <a:pt x="13021" y="6451"/>
                </a:lnTo>
                <a:cubicBezTo>
                  <a:pt x="13088" y="6442"/>
                  <a:pt x="13155" y="6434"/>
                  <a:pt x="13224" y="6427"/>
                </a:cubicBezTo>
                <a:cubicBezTo>
                  <a:pt x="13223" y="6098"/>
                  <a:pt x="13222" y="5769"/>
                  <a:pt x="13222" y="5440"/>
                </a:cubicBezTo>
                <a:cubicBezTo>
                  <a:pt x="13504" y="5745"/>
                  <a:pt x="13790" y="6060"/>
                  <a:pt x="14072" y="6389"/>
                </a:cubicBezTo>
                <a:cubicBezTo>
                  <a:pt x="14137" y="6390"/>
                  <a:pt x="14202" y="6391"/>
                  <a:pt x="14267" y="6393"/>
                </a:cubicBezTo>
                <a:close/>
                <a:moveTo>
                  <a:pt x="7847" y="6956"/>
                </a:moveTo>
                <a:lnTo>
                  <a:pt x="7847" y="6956"/>
                </a:lnTo>
                <a:cubicBezTo>
                  <a:pt x="7846" y="6883"/>
                  <a:pt x="7845" y="6811"/>
                  <a:pt x="7844" y="6738"/>
                </a:cubicBezTo>
                <a:cubicBezTo>
                  <a:pt x="7526" y="6793"/>
                  <a:pt x="7183" y="6832"/>
                  <a:pt x="6809" y="6852"/>
                </a:cubicBezTo>
                <a:lnTo>
                  <a:pt x="6809" y="8100"/>
                </a:lnTo>
                <a:cubicBezTo>
                  <a:pt x="7198" y="8083"/>
                  <a:pt x="7554" y="8048"/>
                  <a:pt x="7882" y="7999"/>
                </a:cubicBezTo>
                <a:cubicBezTo>
                  <a:pt x="7883" y="7930"/>
                  <a:pt x="7884" y="7862"/>
                  <a:pt x="7885" y="7794"/>
                </a:cubicBezTo>
                <a:cubicBezTo>
                  <a:pt x="7599" y="7836"/>
                  <a:pt x="7312" y="7864"/>
                  <a:pt x="7025" y="7878"/>
                </a:cubicBezTo>
                <a:lnTo>
                  <a:pt x="7025" y="7574"/>
                </a:lnTo>
                <a:cubicBezTo>
                  <a:pt x="7260" y="7557"/>
                  <a:pt x="7496" y="7531"/>
                  <a:pt x="7731" y="7495"/>
                </a:cubicBezTo>
                <a:lnTo>
                  <a:pt x="7731" y="7287"/>
                </a:lnTo>
                <a:cubicBezTo>
                  <a:pt x="7496" y="7323"/>
                  <a:pt x="7260" y="7349"/>
                  <a:pt x="7025" y="7365"/>
                </a:cubicBezTo>
                <a:lnTo>
                  <a:pt x="7025" y="7053"/>
                </a:lnTo>
                <a:cubicBezTo>
                  <a:pt x="7299" y="7033"/>
                  <a:pt x="7574" y="7001"/>
                  <a:pt x="7847" y="6956"/>
                </a:cubicBezTo>
                <a:close/>
                <a:moveTo>
                  <a:pt x="9082" y="6822"/>
                </a:moveTo>
                <a:lnTo>
                  <a:pt x="9082" y="6822"/>
                </a:lnTo>
                <a:cubicBezTo>
                  <a:pt x="9082" y="6672"/>
                  <a:pt x="9004" y="6682"/>
                  <a:pt x="8797" y="6737"/>
                </a:cubicBezTo>
                <a:cubicBezTo>
                  <a:pt x="8677" y="6769"/>
                  <a:pt x="8557" y="6798"/>
                  <a:pt x="8437" y="6825"/>
                </a:cubicBezTo>
                <a:lnTo>
                  <a:pt x="8437" y="7152"/>
                </a:lnTo>
                <a:cubicBezTo>
                  <a:pt x="8553" y="7129"/>
                  <a:pt x="8670" y="7104"/>
                  <a:pt x="8786" y="7076"/>
                </a:cubicBezTo>
                <a:cubicBezTo>
                  <a:pt x="8999" y="7019"/>
                  <a:pt x="9082" y="6890"/>
                  <a:pt x="9082" y="6822"/>
                </a:cubicBezTo>
                <a:close/>
                <a:moveTo>
                  <a:pt x="9002" y="7201"/>
                </a:moveTo>
                <a:lnTo>
                  <a:pt x="9002" y="7201"/>
                </a:lnTo>
                <a:cubicBezTo>
                  <a:pt x="9136" y="7349"/>
                  <a:pt x="9270" y="7492"/>
                  <a:pt x="9404" y="7631"/>
                </a:cubicBezTo>
                <a:cubicBezTo>
                  <a:pt x="9328" y="7656"/>
                  <a:pt x="9251" y="7681"/>
                  <a:pt x="9172" y="7705"/>
                </a:cubicBezTo>
                <a:cubicBezTo>
                  <a:pt x="9041" y="7569"/>
                  <a:pt x="8909" y="7430"/>
                  <a:pt x="8778" y="7285"/>
                </a:cubicBezTo>
                <a:cubicBezTo>
                  <a:pt x="8664" y="7314"/>
                  <a:pt x="8551" y="7341"/>
                  <a:pt x="8437" y="7365"/>
                </a:cubicBezTo>
                <a:lnTo>
                  <a:pt x="8437" y="7897"/>
                </a:lnTo>
                <a:cubicBezTo>
                  <a:pt x="8365" y="7913"/>
                  <a:pt x="8293" y="7928"/>
                  <a:pt x="8218" y="7942"/>
                </a:cubicBezTo>
                <a:lnTo>
                  <a:pt x="8218" y="6664"/>
                </a:lnTo>
                <a:cubicBezTo>
                  <a:pt x="8351" y="6635"/>
                  <a:pt x="8543" y="6597"/>
                  <a:pt x="8801" y="6529"/>
                </a:cubicBezTo>
                <a:cubicBezTo>
                  <a:pt x="9152" y="6434"/>
                  <a:pt x="9317" y="6503"/>
                  <a:pt x="9317" y="6743"/>
                </a:cubicBezTo>
                <a:cubicBezTo>
                  <a:pt x="9317" y="6982"/>
                  <a:pt x="9148" y="7123"/>
                  <a:pt x="9002" y="7201"/>
                </a:cubicBezTo>
                <a:close/>
                <a:moveTo>
                  <a:pt x="9851" y="7472"/>
                </a:moveTo>
                <a:lnTo>
                  <a:pt x="9851" y="7472"/>
                </a:lnTo>
                <a:lnTo>
                  <a:pt x="9851" y="6138"/>
                </a:lnTo>
                <a:cubicBezTo>
                  <a:pt x="9783" y="6165"/>
                  <a:pt x="9716" y="6192"/>
                  <a:pt x="9647" y="6219"/>
                </a:cubicBezTo>
                <a:lnTo>
                  <a:pt x="9647" y="7547"/>
                </a:lnTo>
                <a:cubicBezTo>
                  <a:pt x="9716" y="7522"/>
                  <a:pt x="9784" y="7497"/>
                  <a:pt x="9851" y="7472"/>
                </a:cubicBezTo>
                <a:close/>
                <a:moveTo>
                  <a:pt x="1493" y="2260"/>
                </a:moveTo>
                <a:lnTo>
                  <a:pt x="1493" y="2260"/>
                </a:lnTo>
                <a:lnTo>
                  <a:pt x="0" y="6699"/>
                </a:lnTo>
                <a:lnTo>
                  <a:pt x="0" y="7354"/>
                </a:lnTo>
                <a:lnTo>
                  <a:pt x="1599" y="2604"/>
                </a:lnTo>
                <a:cubicBezTo>
                  <a:pt x="1558" y="2490"/>
                  <a:pt x="1523" y="2376"/>
                  <a:pt x="1493" y="2260"/>
                </a:cubicBezTo>
                <a:close/>
                <a:moveTo>
                  <a:pt x="599" y="10809"/>
                </a:moveTo>
                <a:lnTo>
                  <a:pt x="599" y="10809"/>
                </a:lnTo>
                <a:lnTo>
                  <a:pt x="828" y="10809"/>
                </a:lnTo>
                <a:lnTo>
                  <a:pt x="1674" y="8922"/>
                </a:lnTo>
                <a:cubicBezTo>
                  <a:pt x="1613" y="8889"/>
                  <a:pt x="1551" y="8855"/>
                  <a:pt x="1491" y="8820"/>
                </a:cubicBezTo>
                <a:lnTo>
                  <a:pt x="599" y="10809"/>
                </a:lnTo>
                <a:close/>
                <a:moveTo>
                  <a:pt x="6619" y="10090"/>
                </a:moveTo>
                <a:lnTo>
                  <a:pt x="6619" y="10090"/>
                </a:lnTo>
                <a:cubicBezTo>
                  <a:pt x="6548" y="10091"/>
                  <a:pt x="6476" y="10092"/>
                  <a:pt x="6404" y="10093"/>
                </a:cubicBezTo>
                <a:lnTo>
                  <a:pt x="6591" y="10809"/>
                </a:lnTo>
                <a:lnTo>
                  <a:pt x="6807" y="10809"/>
                </a:lnTo>
                <a:lnTo>
                  <a:pt x="6619" y="10090"/>
                </a:lnTo>
                <a:close/>
                <a:moveTo>
                  <a:pt x="3374" y="9663"/>
                </a:moveTo>
                <a:lnTo>
                  <a:pt x="3374" y="9663"/>
                </a:lnTo>
                <a:cubicBezTo>
                  <a:pt x="2632" y="9663"/>
                  <a:pt x="2000" y="10143"/>
                  <a:pt x="1771" y="10809"/>
                </a:cubicBezTo>
                <a:lnTo>
                  <a:pt x="1994" y="10809"/>
                </a:lnTo>
                <a:cubicBezTo>
                  <a:pt x="2213" y="10261"/>
                  <a:pt x="2749" y="9872"/>
                  <a:pt x="3374" y="9872"/>
                </a:cubicBezTo>
                <a:cubicBezTo>
                  <a:pt x="3999" y="9872"/>
                  <a:pt x="4535" y="10261"/>
                  <a:pt x="4755" y="10809"/>
                </a:cubicBezTo>
                <a:lnTo>
                  <a:pt x="4977" y="10809"/>
                </a:lnTo>
                <a:cubicBezTo>
                  <a:pt x="4748" y="10143"/>
                  <a:pt x="4116" y="9663"/>
                  <a:pt x="3374" y="9663"/>
                </a:cubicBezTo>
                <a:close/>
                <a:moveTo>
                  <a:pt x="0" y="8877"/>
                </a:moveTo>
                <a:lnTo>
                  <a:pt x="0" y="8877"/>
                </a:lnTo>
                <a:lnTo>
                  <a:pt x="0" y="9474"/>
                </a:lnTo>
                <a:lnTo>
                  <a:pt x="491" y="8161"/>
                </a:lnTo>
                <a:cubicBezTo>
                  <a:pt x="432" y="8117"/>
                  <a:pt x="375" y="8072"/>
                  <a:pt x="317" y="8027"/>
                </a:cubicBezTo>
                <a:lnTo>
                  <a:pt x="0" y="8877"/>
                </a:lnTo>
                <a:close/>
                <a:moveTo>
                  <a:pt x="5546" y="10065"/>
                </a:moveTo>
                <a:lnTo>
                  <a:pt x="5546" y="10065"/>
                </a:lnTo>
                <a:cubicBezTo>
                  <a:pt x="5471" y="10060"/>
                  <a:pt x="5396" y="10052"/>
                  <a:pt x="5321" y="10044"/>
                </a:cubicBezTo>
                <a:lnTo>
                  <a:pt x="5550" y="10809"/>
                </a:lnTo>
                <a:lnTo>
                  <a:pt x="5768" y="10809"/>
                </a:lnTo>
                <a:lnTo>
                  <a:pt x="5546" y="10065"/>
                </a:lnTo>
                <a:close/>
                <a:moveTo>
                  <a:pt x="2075" y="9130"/>
                </a:moveTo>
                <a:lnTo>
                  <a:pt x="2075" y="9130"/>
                </a:lnTo>
                <a:lnTo>
                  <a:pt x="1259" y="10809"/>
                </a:lnTo>
                <a:lnTo>
                  <a:pt x="1491" y="10809"/>
                </a:lnTo>
                <a:lnTo>
                  <a:pt x="2265" y="9218"/>
                </a:lnTo>
                <a:cubicBezTo>
                  <a:pt x="2201" y="9189"/>
                  <a:pt x="2138" y="9160"/>
                  <a:pt x="2075" y="9130"/>
                </a:cubicBezTo>
                <a:close/>
                <a:moveTo>
                  <a:pt x="0" y="10659"/>
                </a:moveTo>
                <a:lnTo>
                  <a:pt x="0" y="10659"/>
                </a:lnTo>
                <a:lnTo>
                  <a:pt x="0" y="10809"/>
                </a:lnTo>
                <a:lnTo>
                  <a:pt x="164" y="10809"/>
                </a:lnTo>
                <a:lnTo>
                  <a:pt x="1084" y="8573"/>
                </a:lnTo>
                <a:cubicBezTo>
                  <a:pt x="1024" y="8534"/>
                  <a:pt x="965" y="8495"/>
                  <a:pt x="906" y="8456"/>
                </a:cubicBezTo>
                <a:lnTo>
                  <a:pt x="0" y="10659"/>
                </a:lnTo>
                <a:close/>
                <a:moveTo>
                  <a:pt x="4009" y="1354"/>
                </a:moveTo>
                <a:lnTo>
                  <a:pt x="4009" y="1354"/>
                </a:lnTo>
                <a:lnTo>
                  <a:pt x="4009" y="1249"/>
                </a:lnTo>
                <a:cubicBezTo>
                  <a:pt x="4009" y="899"/>
                  <a:pt x="3724" y="615"/>
                  <a:pt x="3374" y="615"/>
                </a:cubicBezTo>
                <a:cubicBezTo>
                  <a:pt x="3024" y="615"/>
                  <a:pt x="2739" y="899"/>
                  <a:pt x="2739" y="1249"/>
                </a:cubicBezTo>
                <a:cubicBezTo>
                  <a:pt x="2739" y="2119"/>
                  <a:pt x="3107" y="2908"/>
                  <a:pt x="3724" y="3360"/>
                </a:cubicBezTo>
                <a:cubicBezTo>
                  <a:pt x="4424" y="3873"/>
                  <a:pt x="5347" y="3839"/>
                  <a:pt x="6023" y="3476"/>
                </a:cubicBezTo>
                <a:cubicBezTo>
                  <a:pt x="6050" y="3405"/>
                  <a:pt x="6071" y="3325"/>
                  <a:pt x="6086" y="3235"/>
                </a:cubicBezTo>
                <a:cubicBezTo>
                  <a:pt x="6059" y="3237"/>
                  <a:pt x="6035" y="3241"/>
                  <a:pt x="6009" y="3244"/>
                </a:cubicBezTo>
                <a:cubicBezTo>
                  <a:pt x="5547" y="3526"/>
                  <a:pt x="4621" y="3758"/>
                  <a:pt x="3848" y="3191"/>
                </a:cubicBezTo>
                <a:cubicBezTo>
                  <a:pt x="3285" y="2778"/>
                  <a:pt x="2948" y="2052"/>
                  <a:pt x="2948" y="1249"/>
                </a:cubicBezTo>
                <a:cubicBezTo>
                  <a:pt x="2948" y="1015"/>
                  <a:pt x="3139" y="824"/>
                  <a:pt x="3374" y="824"/>
                </a:cubicBezTo>
                <a:cubicBezTo>
                  <a:pt x="3609" y="824"/>
                  <a:pt x="3800" y="1015"/>
                  <a:pt x="3800" y="1249"/>
                </a:cubicBezTo>
                <a:lnTo>
                  <a:pt x="3800" y="1354"/>
                </a:lnTo>
                <a:lnTo>
                  <a:pt x="4009" y="1354"/>
                </a:lnTo>
                <a:close/>
                <a:moveTo>
                  <a:pt x="3904" y="1884"/>
                </a:moveTo>
                <a:lnTo>
                  <a:pt x="3904" y="1884"/>
                </a:lnTo>
                <a:cubicBezTo>
                  <a:pt x="4254" y="1884"/>
                  <a:pt x="4539" y="1599"/>
                  <a:pt x="4539" y="1249"/>
                </a:cubicBezTo>
                <a:cubicBezTo>
                  <a:pt x="4539" y="607"/>
                  <a:pt x="4017" y="84"/>
                  <a:pt x="3374" y="84"/>
                </a:cubicBezTo>
                <a:cubicBezTo>
                  <a:pt x="2732" y="84"/>
                  <a:pt x="2209" y="607"/>
                  <a:pt x="2209" y="1249"/>
                </a:cubicBezTo>
                <a:cubicBezTo>
                  <a:pt x="2209" y="2633"/>
                  <a:pt x="3130" y="3959"/>
                  <a:pt x="4500" y="4547"/>
                </a:cubicBezTo>
                <a:cubicBezTo>
                  <a:pt x="5741" y="5080"/>
                  <a:pt x="6989" y="4865"/>
                  <a:pt x="7855" y="4043"/>
                </a:cubicBezTo>
                <a:cubicBezTo>
                  <a:pt x="7877" y="4021"/>
                  <a:pt x="8008" y="3894"/>
                  <a:pt x="8122" y="3739"/>
                </a:cubicBezTo>
                <a:cubicBezTo>
                  <a:pt x="8122" y="3738"/>
                  <a:pt x="8122" y="3737"/>
                  <a:pt x="8122" y="3736"/>
                </a:cubicBezTo>
                <a:cubicBezTo>
                  <a:pt x="7997" y="3752"/>
                  <a:pt x="7889" y="3778"/>
                  <a:pt x="7791" y="3810"/>
                </a:cubicBezTo>
                <a:cubicBezTo>
                  <a:pt x="7759" y="3844"/>
                  <a:pt x="7731" y="3872"/>
                  <a:pt x="7711" y="3891"/>
                </a:cubicBezTo>
                <a:cubicBezTo>
                  <a:pt x="6891" y="4670"/>
                  <a:pt x="5721" y="4844"/>
                  <a:pt x="4583" y="4355"/>
                </a:cubicBezTo>
                <a:cubicBezTo>
                  <a:pt x="3288" y="3799"/>
                  <a:pt x="2418" y="2551"/>
                  <a:pt x="2418" y="1249"/>
                </a:cubicBezTo>
                <a:cubicBezTo>
                  <a:pt x="2418" y="722"/>
                  <a:pt x="2847" y="293"/>
                  <a:pt x="3374" y="293"/>
                </a:cubicBezTo>
                <a:cubicBezTo>
                  <a:pt x="3901" y="293"/>
                  <a:pt x="4330" y="722"/>
                  <a:pt x="4330" y="1249"/>
                </a:cubicBezTo>
                <a:cubicBezTo>
                  <a:pt x="4330" y="1484"/>
                  <a:pt x="4139" y="1675"/>
                  <a:pt x="3904" y="1675"/>
                </a:cubicBezTo>
                <a:cubicBezTo>
                  <a:pt x="3670" y="1675"/>
                  <a:pt x="3479" y="1484"/>
                  <a:pt x="3479" y="1249"/>
                </a:cubicBezTo>
                <a:lnTo>
                  <a:pt x="3479" y="1145"/>
                </a:lnTo>
                <a:lnTo>
                  <a:pt x="3270" y="1145"/>
                </a:lnTo>
                <a:lnTo>
                  <a:pt x="3270" y="1249"/>
                </a:lnTo>
                <a:cubicBezTo>
                  <a:pt x="3270" y="1599"/>
                  <a:pt x="3554" y="1884"/>
                  <a:pt x="3904" y="1884"/>
                </a:cubicBezTo>
                <a:close/>
                <a:moveTo>
                  <a:pt x="340" y="0"/>
                </a:moveTo>
                <a:lnTo>
                  <a:pt x="340" y="0"/>
                </a:lnTo>
                <a:lnTo>
                  <a:pt x="124" y="0"/>
                </a:lnTo>
                <a:lnTo>
                  <a:pt x="0" y="475"/>
                </a:lnTo>
                <a:lnTo>
                  <a:pt x="0" y="1300"/>
                </a:lnTo>
                <a:lnTo>
                  <a:pt x="340" y="0"/>
                </a:lnTo>
                <a:close/>
                <a:moveTo>
                  <a:pt x="3058" y="10809"/>
                </a:moveTo>
                <a:lnTo>
                  <a:pt x="3058" y="10809"/>
                </a:lnTo>
                <a:lnTo>
                  <a:pt x="3690" y="10809"/>
                </a:lnTo>
                <a:cubicBezTo>
                  <a:pt x="3597" y="10755"/>
                  <a:pt x="3489" y="10724"/>
                  <a:pt x="3374" y="10724"/>
                </a:cubicBezTo>
                <a:cubicBezTo>
                  <a:pt x="3259" y="10724"/>
                  <a:pt x="3151" y="10755"/>
                  <a:pt x="3058" y="10809"/>
                </a:cubicBezTo>
                <a:close/>
                <a:moveTo>
                  <a:pt x="1679" y="1249"/>
                </a:moveTo>
                <a:lnTo>
                  <a:pt x="1679" y="1249"/>
                </a:lnTo>
                <a:cubicBezTo>
                  <a:pt x="1679" y="1912"/>
                  <a:pt x="1853" y="2538"/>
                  <a:pt x="2162" y="3094"/>
                </a:cubicBezTo>
                <a:lnTo>
                  <a:pt x="432" y="7720"/>
                </a:lnTo>
                <a:cubicBezTo>
                  <a:pt x="2182" y="9124"/>
                  <a:pt x="4238" y="9781"/>
                  <a:pt x="6291" y="9781"/>
                </a:cubicBezTo>
                <a:cubicBezTo>
                  <a:pt x="10315" y="9781"/>
                  <a:pt x="11538" y="8057"/>
                  <a:pt x="13980" y="8057"/>
                </a:cubicBezTo>
                <a:cubicBezTo>
                  <a:pt x="15836" y="8057"/>
                  <a:pt x="16988" y="9052"/>
                  <a:pt x="19200" y="9530"/>
                </a:cubicBezTo>
                <a:lnTo>
                  <a:pt x="19200" y="9316"/>
                </a:lnTo>
                <a:cubicBezTo>
                  <a:pt x="17026" y="8836"/>
                  <a:pt x="15875" y="7848"/>
                  <a:pt x="13980" y="7848"/>
                </a:cubicBezTo>
                <a:cubicBezTo>
                  <a:pt x="11477" y="7848"/>
                  <a:pt x="10272" y="9572"/>
                  <a:pt x="6291" y="9572"/>
                </a:cubicBezTo>
                <a:cubicBezTo>
                  <a:pt x="4242" y="9572"/>
                  <a:pt x="2253" y="8890"/>
                  <a:pt x="681" y="7651"/>
                </a:cubicBezTo>
                <a:lnTo>
                  <a:pt x="2299" y="3323"/>
                </a:lnTo>
                <a:cubicBezTo>
                  <a:pt x="3098" y="4562"/>
                  <a:pt x="4587" y="5397"/>
                  <a:pt x="6291" y="5397"/>
                </a:cubicBezTo>
                <a:cubicBezTo>
                  <a:pt x="9472" y="5397"/>
                  <a:pt x="10157" y="3674"/>
                  <a:pt x="13981" y="3674"/>
                </a:cubicBezTo>
                <a:cubicBezTo>
                  <a:pt x="16581" y="3674"/>
                  <a:pt x="17730" y="4471"/>
                  <a:pt x="19200" y="4981"/>
                </a:cubicBezTo>
                <a:lnTo>
                  <a:pt x="19200" y="4759"/>
                </a:lnTo>
                <a:cubicBezTo>
                  <a:pt x="18887" y="4648"/>
                  <a:pt x="18588" y="4525"/>
                  <a:pt x="18283" y="4399"/>
                </a:cubicBezTo>
                <a:cubicBezTo>
                  <a:pt x="17574" y="4106"/>
                  <a:pt x="17437" y="3655"/>
                  <a:pt x="17433" y="2883"/>
                </a:cubicBezTo>
                <a:cubicBezTo>
                  <a:pt x="18212" y="2948"/>
                  <a:pt x="18512" y="3750"/>
                  <a:pt x="19200" y="4304"/>
                </a:cubicBezTo>
                <a:lnTo>
                  <a:pt x="19200" y="4027"/>
                </a:lnTo>
                <a:cubicBezTo>
                  <a:pt x="18578" y="3457"/>
                  <a:pt x="18243" y="2669"/>
                  <a:pt x="17328" y="2669"/>
                </a:cubicBezTo>
                <a:lnTo>
                  <a:pt x="17224" y="2669"/>
                </a:lnTo>
                <a:lnTo>
                  <a:pt x="17224" y="2774"/>
                </a:lnTo>
                <a:cubicBezTo>
                  <a:pt x="17224" y="3183"/>
                  <a:pt x="17225" y="3691"/>
                  <a:pt x="17513" y="4091"/>
                </a:cubicBezTo>
                <a:cubicBezTo>
                  <a:pt x="16605" y="3750"/>
                  <a:pt x="15560" y="3465"/>
                  <a:pt x="13981" y="3465"/>
                </a:cubicBezTo>
                <a:cubicBezTo>
                  <a:pt x="12402" y="3465"/>
                  <a:pt x="11356" y="3750"/>
                  <a:pt x="10448" y="4091"/>
                </a:cubicBezTo>
                <a:cubicBezTo>
                  <a:pt x="10736" y="3691"/>
                  <a:pt x="10738" y="3183"/>
                  <a:pt x="10738" y="2774"/>
                </a:cubicBezTo>
                <a:lnTo>
                  <a:pt x="10738" y="2669"/>
                </a:lnTo>
                <a:lnTo>
                  <a:pt x="10633" y="2669"/>
                </a:lnTo>
                <a:cubicBezTo>
                  <a:pt x="9565" y="2669"/>
                  <a:pt x="9287" y="3743"/>
                  <a:pt x="8421" y="4290"/>
                </a:cubicBezTo>
                <a:cubicBezTo>
                  <a:pt x="8535" y="4036"/>
                  <a:pt x="8550" y="3718"/>
                  <a:pt x="8550" y="3402"/>
                </a:cubicBezTo>
                <a:lnTo>
                  <a:pt x="8550" y="3297"/>
                </a:lnTo>
                <a:lnTo>
                  <a:pt x="8446" y="3297"/>
                </a:lnTo>
                <a:cubicBezTo>
                  <a:pt x="7221" y="3297"/>
                  <a:pt x="7088" y="3919"/>
                  <a:pt x="6141" y="4039"/>
                </a:cubicBezTo>
                <a:cubicBezTo>
                  <a:pt x="6394" y="3816"/>
                  <a:pt x="6528" y="3425"/>
                  <a:pt x="6528" y="2906"/>
                </a:cubicBezTo>
                <a:lnTo>
                  <a:pt x="6528" y="2802"/>
                </a:lnTo>
                <a:lnTo>
                  <a:pt x="6423" y="2802"/>
                </a:lnTo>
                <a:cubicBezTo>
                  <a:pt x="5617" y="2802"/>
                  <a:pt x="5343" y="3009"/>
                  <a:pt x="4816" y="3009"/>
                </a:cubicBezTo>
                <a:cubicBezTo>
                  <a:pt x="4429" y="3009"/>
                  <a:pt x="4065" y="2789"/>
                  <a:pt x="3812" y="2411"/>
                </a:cubicBezTo>
                <a:cubicBezTo>
                  <a:pt x="4493" y="2464"/>
                  <a:pt x="5070" y="1925"/>
                  <a:pt x="5070" y="1249"/>
                </a:cubicBezTo>
                <a:cubicBezTo>
                  <a:pt x="5070" y="755"/>
                  <a:pt x="4857" y="309"/>
                  <a:pt x="4518" y="0"/>
                </a:cubicBezTo>
                <a:lnTo>
                  <a:pt x="4176" y="0"/>
                </a:lnTo>
                <a:cubicBezTo>
                  <a:pt x="4587" y="264"/>
                  <a:pt x="4861" y="725"/>
                  <a:pt x="4861" y="1249"/>
                </a:cubicBezTo>
                <a:cubicBezTo>
                  <a:pt x="4861" y="1885"/>
                  <a:pt x="4249" y="2345"/>
                  <a:pt x="3638" y="2168"/>
                </a:cubicBezTo>
                <a:lnTo>
                  <a:pt x="3407" y="2101"/>
                </a:lnTo>
                <a:lnTo>
                  <a:pt x="3515" y="2315"/>
                </a:lnTo>
                <a:cubicBezTo>
                  <a:pt x="3801" y="2880"/>
                  <a:pt x="4287" y="3218"/>
                  <a:pt x="4816" y="3218"/>
                </a:cubicBezTo>
                <a:cubicBezTo>
                  <a:pt x="5354" y="3218"/>
                  <a:pt x="5617" y="3029"/>
                  <a:pt x="6317" y="3012"/>
                </a:cubicBezTo>
                <a:cubicBezTo>
                  <a:pt x="6290" y="3680"/>
                  <a:pt x="6025" y="4126"/>
                  <a:pt x="5356" y="4023"/>
                </a:cubicBezTo>
                <a:cubicBezTo>
                  <a:pt x="5073" y="4070"/>
                  <a:pt x="4855" y="4068"/>
                  <a:pt x="4633" y="4041"/>
                </a:cubicBezTo>
                <a:cubicBezTo>
                  <a:pt x="4991" y="4187"/>
                  <a:pt x="5383" y="4268"/>
                  <a:pt x="5794" y="4268"/>
                </a:cubicBezTo>
                <a:cubicBezTo>
                  <a:pt x="7116" y="4268"/>
                  <a:pt x="7160" y="3547"/>
                  <a:pt x="8341" y="3508"/>
                </a:cubicBezTo>
                <a:cubicBezTo>
                  <a:pt x="8328" y="4434"/>
                  <a:pt x="8042" y="4513"/>
                  <a:pt x="7581" y="4616"/>
                </a:cubicBezTo>
                <a:cubicBezTo>
                  <a:pt x="7399" y="4735"/>
                  <a:pt x="7207" y="4835"/>
                  <a:pt x="7007" y="4913"/>
                </a:cubicBezTo>
                <a:cubicBezTo>
                  <a:pt x="7376" y="4883"/>
                  <a:pt x="7775" y="4816"/>
                  <a:pt x="8148" y="4661"/>
                </a:cubicBezTo>
                <a:cubicBezTo>
                  <a:pt x="9328" y="4207"/>
                  <a:pt x="9551" y="2964"/>
                  <a:pt x="10529" y="2883"/>
                </a:cubicBezTo>
                <a:cubicBezTo>
                  <a:pt x="10525" y="3653"/>
                  <a:pt x="10388" y="4106"/>
                  <a:pt x="9679" y="4399"/>
                </a:cubicBezTo>
                <a:cubicBezTo>
                  <a:pt x="8695" y="4805"/>
                  <a:pt x="7766" y="5188"/>
                  <a:pt x="6291" y="5188"/>
                </a:cubicBezTo>
                <a:cubicBezTo>
                  <a:pt x="3863" y="5188"/>
                  <a:pt x="1888" y="3421"/>
                  <a:pt x="1888" y="1249"/>
                </a:cubicBezTo>
                <a:cubicBezTo>
                  <a:pt x="1888" y="725"/>
                  <a:pt x="2161" y="264"/>
                  <a:pt x="2572" y="0"/>
                </a:cubicBezTo>
                <a:lnTo>
                  <a:pt x="2230" y="0"/>
                </a:lnTo>
                <a:cubicBezTo>
                  <a:pt x="1892" y="309"/>
                  <a:pt x="1679" y="755"/>
                  <a:pt x="1679" y="1249"/>
                </a:cubicBezTo>
                <a:close/>
                <a:moveTo>
                  <a:pt x="3374" y="10194"/>
                </a:moveTo>
                <a:lnTo>
                  <a:pt x="3374" y="10194"/>
                </a:lnTo>
                <a:cubicBezTo>
                  <a:pt x="2931" y="10194"/>
                  <a:pt x="2544" y="10443"/>
                  <a:pt x="2347" y="10809"/>
                </a:cubicBezTo>
                <a:lnTo>
                  <a:pt x="2593" y="10809"/>
                </a:lnTo>
                <a:cubicBezTo>
                  <a:pt x="2766" y="10563"/>
                  <a:pt x="3052" y="10403"/>
                  <a:pt x="3374" y="10403"/>
                </a:cubicBezTo>
                <a:cubicBezTo>
                  <a:pt x="3697" y="10403"/>
                  <a:pt x="3982" y="10563"/>
                  <a:pt x="4155" y="10809"/>
                </a:cubicBezTo>
                <a:lnTo>
                  <a:pt x="4401" y="10809"/>
                </a:lnTo>
                <a:cubicBezTo>
                  <a:pt x="4204" y="10443"/>
                  <a:pt x="3818" y="10194"/>
                  <a:pt x="3374" y="10194"/>
                </a:cubicBezTo>
                <a:close/>
                <a:moveTo>
                  <a:pt x="10301" y="3256"/>
                </a:moveTo>
                <a:lnTo>
                  <a:pt x="10301" y="3256"/>
                </a:lnTo>
                <a:cubicBezTo>
                  <a:pt x="10305" y="3218"/>
                  <a:pt x="10308" y="3180"/>
                  <a:pt x="10311" y="3141"/>
                </a:cubicBezTo>
                <a:cubicBezTo>
                  <a:pt x="10224" y="3172"/>
                  <a:pt x="10144" y="3218"/>
                  <a:pt x="10066" y="3276"/>
                </a:cubicBezTo>
                <a:cubicBezTo>
                  <a:pt x="9840" y="3758"/>
                  <a:pt x="9465" y="4153"/>
                  <a:pt x="9002" y="4419"/>
                </a:cubicBezTo>
                <a:cubicBezTo>
                  <a:pt x="9198" y="4343"/>
                  <a:pt x="9393" y="4263"/>
                  <a:pt x="9589" y="4182"/>
                </a:cubicBezTo>
                <a:cubicBezTo>
                  <a:pt x="9630" y="4165"/>
                  <a:pt x="9673" y="4147"/>
                  <a:pt x="9714" y="4130"/>
                </a:cubicBezTo>
                <a:cubicBezTo>
                  <a:pt x="9962" y="3880"/>
                  <a:pt x="10164" y="3586"/>
                  <a:pt x="10301" y="3256"/>
                </a:cubicBezTo>
                <a:close/>
                <a:moveTo>
                  <a:pt x="18036" y="10809"/>
                </a:moveTo>
                <a:lnTo>
                  <a:pt x="18036" y="10809"/>
                </a:lnTo>
                <a:lnTo>
                  <a:pt x="18247" y="10809"/>
                </a:lnTo>
                <a:lnTo>
                  <a:pt x="18419" y="9657"/>
                </a:lnTo>
                <a:cubicBezTo>
                  <a:pt x="18351" y="9638"/>
                  <a:pt x="18283" y="9618"/>
                  <a:pt x="18217" y="9598"/>
                </a:cubicBezTo>
                <a:lnTo>
                  <a:pt x="18036" y="10809"/>
                </a:lnTo>
                <a:close/>
                <a:moveTo>
                  <a:pt x="16309" y="8894"/>
                </a:moveTo>
                <a:lnTo>
                  <a:pt x="16309" y="8894"/>
                </a:lnTo>
                <a:cubicBezTo>
                  <a:pt x="16241" y="8868"/>
                  <a:pt x="16173" y="8842"/>
                  <a:pt x="16105" y="8817"/>
                </a:cubicBezTo>
                <a:lnTo>
                  <a:pt x="15960" y="10760"/>
                </a:lnTo>
                <a:cubicBezTo>
                  <a:pt x="16000" y="10776"/>
                  <a:pt x="16040" y="10792"/>
                  <a:pt x="16080" y="10809"/>
                </a:cubicBezTo>
                <a:lnTo>
                  <a:pt x="16166" y="10809"/>
                </a:lnTo>
                <a:lnTo>
                  <a:pt x="16309" y="8894"/>
                </a:lnTo>
                <a:close/>
                <a:moveTo>
                  <a:pt x="14085" y="8375"/>
                </a:moveTo>
                <a:lnTo>
                  <a:pt x="14085" y="8375"/>
                </a:lnTo>
                <a:cubicBezTo>
                  <a:pt x="14050" y="8374"/>
                  <a:pt x="14016" y="8371"/>
                  <a:pt x="13981" y="8371"/>
                </a:cubicBezTo>
                <a:cubicBezTo>
                  <a:pt x="13945" y="8371"/>
                  <a:pt x="13911" y="8374"/>
                  <a:pt x="13876" y="8375"/>
                </a:cubicBezTo>
                <a:lnTo>
                  <a:pt x="13876" y="10393"/>
                </a:lnTo>
                <a:cubicBezTo>
                  <a:pt x="13911" y="10393"/>
                  <a:pt x="13945" y="10391"/>
                  <a:pt x="13981" y="10391"/>
                </a:cubicBezTo>
                <a:cubicBezTo>
                  <a:pt x="14016" y="10391"/>
                  <a:pt x="14050" y="10393"/>
                  <a:pt x="14085" y="10393"/>
                </a:cubicBezTo>
                <a:lnTo>
                  <a:pt x="14085" y="8375"/>
                </a:lnTo>
                <a:close/>
                <a:moveTo>
                  <a:pt x="19200" y="10809"/>
                </a:moveTo>
                <a:lnTo>
                  <a:pt x="19200" y="10809"/>
                </a:lnTo>
                <a:lnTo>
                  <a:pt x="19200" y="10144"/>
                </a:lnTo>
                <a:lnTo>
                  <a:pt x="19075" y="10809"/>
                </a:lnTo>
                <a:lnTo>
                  <a:pt x="19200" y="10809"/>
                </a:lnTo>
                <a:close/>
                <a:moveTo>
                  <a:pt x="17179" y="2356"/>
                </a:moveTo>
                <a:lnTo>
                  <a:pt x="17179" y="2356"/>
                </a:lnTo>
                <a:lnTo>
                  <a:pt x="17328" y="2356"/>
                </a:lnTo>
                <a:cubicBezTo>
                  <a:pt x="17349" y="2356"/>
                  <a:pt x="17369" y="2358"/>
                  <a:pt x="17390" y="2358"/>
                </a:cubicBezTo>
                <a:lnTo>
                  <a:pt x="17141" y="137"/>
                </a:lnTo>
                <a:cubicBezTo>
                  <a:pt x="17076" y="182"/>
                  <a:pt x="17011" y="226"/>
                  <a:pt x="16945" y="269"/>
                </a:cubicBezTo>
                <a:lnTo>
                  <a:pt x="17179" y="2356"/>
                </a:lnTo>
                <a:close/>
                <a:moveTo>
                  <a:pt x="13981" y="10704"/>
                </a:moveTo>
                <a:lnTo>
                  <a:pt x="13981" y="10704"/>
                </a:lnTo>
                <a:cubicBezTo>
                  <a:pt x="13625" y="10704"/>
                  <a:pt x="13277" y="10740"/>
                  <a:pt x="12942" y="10809"/>
                </a:cubicBezTo>
                <a:lnTo>
                  <a:pt x="15019" y="10809"/>
                </a:lnTo>
                <a:cubicBezTo>
                  <a:pt x="14684" y="10740"/>
                  <a:pt x="14336" y="10704"/>
                  <a:pt x="13981" y="10704"/>
                </a:cubicBezTo>
                <a:close/>
                <a:moveTo>
                  <a:pt x="7670" y="10022"/>
                </a:moveTo>
                <a:lnTo>
                  <a:pt x="7670" y="10022"/>
                </a:lnTo>
                <a:cubicBezTo>
                  <a:pt x="7601" y="10030"/>
                  <a:pt x="7532" y="10037"/>
                  <a:pt x="7461" y="10044"/>
                </a:cubicBezTo>
                <a:lnTo>
                  <a:pt x="7632" y="10809"/>
                </a:lnTo>
                <a:lnTo>
                  <a:pt x="7846" y="10809"/>
                </a:lnTo>
                <a:lnTo>
                  <a:pt x="7670" y="10022"/>
                </a:lnTo>
                <a:close/>
                <a:moveTo>
                  <a:pt x="14929" y="10474"/>
                </a:moveTo>
                <a:lnTo>
                  <a:pt x="14929" y="10474"/>
                </a:lnTo>
                <a:cubicBezTo>
                  <a:pt x="14998" y="10486"/>
                  <a:pt x="15068" y="10499"/>
                  <a:pt x="15136" y="10514"/>
                </a:cubicBezTo>
                <a:lnTo>
                  <a:pt x="15210" y="8532"/>
                </a:lnTo>
                <a:cubicBezTo>
                  <a:pt x="15142" y="8515"/>
                  <a:pt x="15073" y="8497"/>
                  <a:pt x="15003" y="8482"/>
                </a:cubicBezTo>
                <a:lnTo>
                  <a:pt x="14929" y="10474"/>
                </a:lnTo>
                <a:close/>
                <a:moveTo>
                  <a:pt x="16996" y="10809"/>
                </a:moveTo>
                <a:lnTo>
                  <a:pt x="16996" y="10809"/>
                </a:lnTo>
                <a:lnTo>
                  <a:pt x="17206" y="10809"/>
                </a:lnTo>
                <a:lnTo>
                  <a:pt x="17374" y="9309"/>
                </a:lnTo>
                <a:cubicBezTo>
                  <a:pt x="17307" y="9283"/>
                  <a:pt x="17239" y="9258"/>
                  <a:pt x="17173" y="9232"/>
                </a:cubicBezTo>
                <a:lnTo>
                  <a:pt x="16996" y="10809"/>
                </a:lnTo>
                <a:close/>
                <a:moveTo>
                  <a:pt x="18330" y="2688"/>
                </a:moveTo>
                <a:lnTo>
                  <a:pt x="18330" y="2688"/>
                </a:lnTo>
                <a:cubicBezTo>
                  <a:pt x="18415" y="2751"/>
                  <a:pt x="18496" y="2819"/>
                  <a:pt x="18571" y="2891"/>
                </a:cubicBezTo>
                <a:lnTo>
                  <a:pt x="18139" y="0"/>
                </a:lnTo>
                <a:lnTo>
                  <a:pt x="17927" y="0"/>
                </a:lnTo>
                <a:lnTo>
                  <a:pt x="18330" y="2688"/>
                </a:lnTo>
                <a:close/>
                <a:moveTo>
                  <a:pt x="8709" y="9862"/>
                </a:moveTo>
                <a:lnTo>
                  <a:pt x="8709" y="9862"/>
                </a:lnTo>
                <a:cubicBezTo>
                  <a:pt x="8641" y="9876"/>
                  <a:pt x="8573" y="9889"/>
                  <a:pt x="8504" y="9902"/>
                </a:cubicBezTo>
                <a:lnTo>
                  <a:pt x="8673" y="10809"/>
                </a:lnTo>
                <a:lnTo>
                  <a:pt x="8886" y="10809"/>
                </a:lnTo>
                <a:lnTo>
                  <a:pt x="8709" y="9862"/>
                </a:lnTo>
                <a:close/>
                <a:moveTo>
                  <a:pt x="10788" y="9232"/>
                </a:moveTo>
                <a:lnTo>
                  <a:pt x="10788" y="9232"/>
                </a:lnTo>
                <a:cubicBezTo>
                  <a:pt x="10722" y="9258"/>
                  <a:pt x="10654" y="9283"/>
                  <a:pt x="10587" y="9309"/>
                </a:cubicBezTo>
                <a:lnTo>
                  <a:pt x="10755" y="10809"/>
                </a:lnTo>
                <a:lnTo>
                  <a:pt x="10965" y="10809"/>
                </a:lnTo>
                <a:lnTo>
                  <a:pt x="10788" y="9232"/>
                </a:lnTo>
                <a:close/>
                <a:moveTo>
                  <a:pt x="9744" y="9598"/>
                </a:moveTo>
                <a:lnTo>
                  <a:pt x="9744" y="9598"/>
                </a:lnTo>
                <a:cubicBezTo>
                  <a:pt x="9678" y="9618"/>
                  <a:pt x="9610" y="9638"/>
                  <a:pt x="9542" y="9657"/>
                </a:cubicBezTo>
                <a:lnTo>
                  <a:pt x="9714" y="10809"/>
                </a:lnTo>
                <a:lnTo>
                  <a:pt x="9925" y="10809"/>
                </a:lnTo>
                <a:lnTo>
                  <a:pt x="9744" y="9598"/>
                </a:lnTo>
                <a:close/>
                <a:moveTo>
                  <a:pt x="12001" y="10760"/>
                </a:moveTo>
                <a:lnTo>
                  <a:pt x="12001" y="10760"/>
                </a:lnTo>
                <a:lnTo>
                  <a:pt x="11856" y="8817"/>
                </a:lnTo>
                <a:cubicBezTo>
                  <a:pt x="11788" y="8842"/>
                  <a:pt x="11720" y="8868"/>
                  <a:pt x="11652" y="8894"/>
                </a:cubicBezTo>
                <a:lnTo>
                  <a:pt x="11795" y="10809"/>
                </a:lnTo>
                <a:lnTo>
                  <a:pt x="11881" y="10809"/>
                </a:lnTo>
                <a:cubicBezTo>
                  <a:pt x="11921" y="10792"/>
                  <a:pt x="11961" y="10776"/>
                  <a:pt x="12001" y="10760"/>
                </a:cubicBezTo>
                <a:close/>
                <a:moveTo>
                  <a:pt x="13032" y="10474"/>
                </a:moveTo>
                <a:lnTo>
                  <a:pt x="13032" y="10474"/>
                </a:lnTo>
                <a:cubicBezTo>
                  <a:pt x="12963" y="10486"/>
                  <a:pt x="12893" y="10499"/>
                  <a:pt x="12825" y="10514"/>
                </a:cubicBezTo>
                <a:lnTo>
                  <a:pt x="12751" y="8532"/>
                </a:lnTo>
                <a:cubicBezTo>
                  <a:pt x="12819" y="8514"/>
                  <a:pt x="12888" y="8497"/>
                  <a:pt x="12958" y="8482"/>
                </a:cubicBezTo>
                <a:lnTo>
                  <a:pt x="13032" y="10474"/>
                </a:lnTo>
                <a:close/>
              </a:path>
            </a:pathLst>
          </a:custGeom>
          <a:solidFill>
            <a:schemeClr val="bg1">
              <a:alpha val="10000"/>
            </a:schemeClr>
          </a:solidFill>
          <a:ln w="0">
            <a:noFill/>
            <a:prstDash val="solid"/>
            <a:round/>
            <a:headEnd/>
            <a:tailEnd/>
          </a:ln>
        </p:spPr>
        <p:txBody>
          <a:bodyPr vert="horz" wrap="square" lIns="121920" tIns="60960" rIns="121920" bIns="60960" numCol="1" anchor="t" anchorCtr="0" compatLnSpc="1">
            <a:prstTxWarp prst="textNoShape">
              <a:avLst/>
            </a:prstTxWarp>
          </a:bodyPr>
          <a:lstStyle/>
          <a:p>
            <a:pPr lvl="0"/>
            <a:endParaRPr lang="en-US" sz="2400"/>
          </a:p>
        </p:txBody>
      </p:sp>
      <p:sp>
        <p:nvSpPr>
          <p:cNvPr id="2" name="Title 1">
            <a:extLst>
              <a:ext uri="{FF2B5EF4-FFF2-40B4-BE49-F238E27FC236}">
                <a16:creationId xmlns:a16="http://schemas.microsoft.com/office/drawing/2014/main" id="{F9AC90E9-8548-4F44-A404-4532EB3B482D}"/>
              </a:ext>
            </a:extLst>
          </p:cNvPr>
          <p:cNvSpPr>
            <a:spLocks noGrp="1"/>
          </p:cNvSpPr>
          <p:nvPr>
            <p:ph type="title" hasCustomPrompt="1"/>
          </p:nvPr>
        </p:nvSpPr>
        <p:spPr>
          <a:xfrm>
            <a:off x="609601" y="546101"/>
            <a:ext cx="9266767" cy="2255519"/>
          </a:xfrm>
        </p:spPr>
        <p:txBody>
          <a:bodyPr rIns="137160" anchor="b" anchorCtr="0"/>
          <a:lstStyle>
            <a:lvl1pPr>
              <a:defRPr sz="4267" spc="-80" baseline="0">
                <a:solidFill>
                  <a:schemeClr val="bg1"/>
                </a:solidFill>
              </a:defRPr>
            </a:lvl1pPr>
          </a:lstStyle>
          <a:p>
            <a:r>
              <a:rPr lang="en-US"/>
              <a:t>Section header title</a:t>
            </a:r>
          </a:p>
        </p:txBody>
      </p:sp>
      <p:sp>
        <p:nvSpPr>
          <p:cNvPr id="3" name="Text Placeholder 2">
            <a:extLst>
              <a:ext uri="{FF2B5EF4-FFF2-40B4-BE49-F238E27FC236}">
                <a16:creationId xmlns:a16="http://schemas.microsoft.com/office/drawing/2014/main" id="{0E07319C-9A3D-6A49-8F17-E79484E38275}"/>
              </a:ext>
            </a:extLst>
          </p:cNvPr>
          <p:cNvSpPr>
            <a:spLocks noGrp="1"/>
          </p:cNvSpPr>
          <p:nvPr>
            <p:ph type="body" idx="1" hasCustomPrompt="1"/>
          </p:nvPr>
        </p:nvSpPr>
        <p:spPr>
          <a:xfrm>
            <a:off x="609602" y="2987041"/>
            <a:ext cx="5304365" cy="608356"/>
          </a:xfrm>
        </p:spPr>
        <p:txBody>
          <a:bodyPr>
            <a:noAutofit/>
          </a:bodyPr>
          <a:lstStyle>
            <a:lvl1pPr marL="0" indent="0">
              <a:spcBef>
                <a:spcPts val="0"/>
              </a:spcBef>
              <a:buNone/>
              <a:defRPr sz="1333" cap="none" baseline="0">
                <a:solidFill>
                  <a:schemeClr val="bg1"/>
                </a:solidFill>
              </a:defRPr>
            </a:lvl1pPr>
            <a:lvl2pPr marL="0" indent="0">
              <a:spcBef>
                <a:spcPts val="0"/>
              </a:spcBef>
              <a:buNone/>
              <a:defRPr sz="1333" cap="all" baseline="0">
                <a:solidFill>
                  <a:schemeClr val="bg1"/>
                </a:solidFill>
              </a:defRPr>
            </a:lvl2pPr>
            <a:lvl3pPr marL="0" indent="0">
              <a:spcBef>
                <a:spcPts val="0"/>
              </a:spcBef>
              <a:buNone/>
              <a:defRPr sz="1333" cap="all" baseline="0">
                <a:solidFill>
                  <a:schemeClr val="bg1"/>
                </a:solidFill>
              </a:defRPr>
            </a:lvl3pPr>
            <a:lvl4pPr marL="0" indent="0">
              <a:spcBef>
                <a:spcPts val="0"/>
              </a:spcBef>
              <a:buNone/>
              <a:defRPr sz="1333" cap="all" baseline="0">
                <a:solidFill>
                  <a:schemeClr val="bg1"/>
                </a:solidFill>
              </a:defRPr>
            </a:lvl4pPr>
            <a:lvl5pPr marL="0" indent="0">
              <a:spcBef>
                <a:spcPts val="0"/>
              </a:spcBef>
              <a:buNone/>
              <a:defRPr sz="1333" cap="all" baseline="0">
                <a:solidFill>
                  <a:schemeClr val="bg1"/>
                </a:solidFill>
              </a:defRPr>
            </a:lvl5pPr>
            <a:lvl6pPr marL="0" indent="0">
              <a:spcBef>
                <a:spcPts val="0"/>
              </a:spcBef>
              <a:buNone/>
              <a:defRPr sz="1333" cap="all" baseline="0">
                <a:solidFill>
                  <a:schemeClr val="bg1"/>
                </a:solidFill>
              </a:defRPr>
            </a:lvl6pPr>
            <a:lvl7pPr marL="0" indent="0">
              <a:spcBef>
                <a:spcPts val="0"/>
              </a:spcBef>
              <a:buNone/>
              <a:defRPr sz="1333" cap="all" baseline="0">
                <a:solidFill>
                  <a:schemeClr val="bg1"/>
                </a:solidFill>
              </a:defRPr>
            </a:lvl7pPr>
            <a:lvl8pPr marL="0" indent="0">
              <a:spcBef>
                <a:spcPts val="0"/>
              </a:spcBef>
              <a:buNone/>
              <a:defRPr sz="1333" cap="all" baseline="0">
                <a:solidFill>
                  <a:schemeClr val="bg1"/>
                </a:solidFill>
              </a:defRPr>
            </a:lvl8pPr>
            <a:lvl9pPr marL="0" indent="0">
              <a:spcBef>
                <a:spcPts val="0"/>
              </a:spcBef>
              <a:buNone/>
              <a:defRPr sz="1333" cap="all" baseline="0">
                <a:solidFill>
                  <a:schemeClr val="bg1"/>
                </a:solidFill>
              </a:defRPr>
            </a:lvl9pPr>
          </a:lstStyle>
          <a:p>
            <a:pPr lvl="0"/>
            <a:r>
              <a:rPr lang="en-US"/>
              <a:t>Optional subtitle</a:t>
            </a:r>
          </a:p>
        </p:txBody>
      </p:sp>
    </p:spTree>
    <p:extLst>
      <p:ext uri="{BB962C8B-B14F-4D97-AF65-F5344CB8AC3E}">
        <p14:creationId xmlns:p14="http://schemas.microsoft.com/office/powerpoint/2010/main" val="370412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26A3B-A09F-2F48-89B5-88F69CD0D645}"/>
              </a:ext>
            </a:extLst>
          </p:cNvPr>
          <p:cNvSpPr>
            <a:spLocks noGrp="1"/>
          </p:cNvSpPr>
          <p:nvPr>
            <p:ph type="title" hasCustomPrompt="1"/>
          </p:nvPr>
        </p:nvSpPr>
        <p:spPr/>
        <p:txBody>
          <a:bodyPr/>
          <a:lstStyle/>
          <a:p>
            <a:r>
              <a:rPr lang="en-US"/>
              <a:t>Slide title</a:t>
            </a:r>
          </a:p>
        </p:txBody>
      </p:sp>
      <p:sp>
        <p:nvSpPr>
          <p:cNvPr id="6" name="Slide Number Placeholder 5">
            <a:extLst>
              <a:ext uri="{FF2B5EF4-FFF2-40B4-BE49-F238E27FC236}">
                <a16:creationId xmlns:a16="http://schemas.microsoft.com/office/drawing/2014/main" id="{1D121BBA-E035-AC4A-9970-B27091D752B9}"/>
              </a:ext>
            </a:extLst>
          </p:cNvPr>
          <p:cNvSpPr>
            <a:spLocks noGrp="1"/>
          </p:cNvSpPr>
          <p:nvPr>
            <p:ph type="sldNum" sz="quarter" idx="10"/>
          </p:nvPr>
        </p:nvSpPr>
        <p:spPr>
          <a:xfrm>
            <a:off x="10972800" y="6297507"/>
            <a:ext cx="609600" cy="306493"/>
          </a:xfrm>
          <a:prstGeom prst="rect">
            <a:avLst/>
          </a:prstGeom>
        </p:spPr>
        <p:txBody>
          <a:bodyPr/>
          <a:lstStyle/>
          <a:p>
            <a:fld id="{E59C716A-E560-2D44-8739-72D446B232A5}" type="slidenum">
              <a:rPr lang="en-US" smtClean="0"/>
              <a:pPr/>
              <a:t>‹#›</a:t>
            </a:fld>
            <a:endParaRPr lang="en-US"/>
          </a:p>
        </p:txBody>
      </p:sp>
    </p:spTree>
    <p:extLst>
      <p:ext uri="{BB962C8B-B14F-4D97-AF65-F5344CB8AC3E}">
        <p14:creationId xmlns:p14="http://schemas.microsoft.com/office/powerpoint/2010/main" val="866351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ED3FE97-439F-A649-87BE-06EB6810ACDF}"/>
              </a:ext>
            </a:extLst>
          </p:cNvPr>
          <p:cNvSpPr>
            <a:spLocks noGrp="1"/>
          </p:cNvSpPr>
          <p:nvPr>
            <p:ph type="sldNum" sz="quarter" idx="10"/>
          </p:nvPr>
        </p:nvSpPr>
        <p:spPr>
          <a:xfrm>
            <a:off x="10972800" y="6297507"/>
            <a:ext cx="609600" cy="306493"/>
          </a:xfrm>
          <a:prstGeom prst="rect">
            <a:avLst/>
          </a:prstGeom>
        </p:spPr>
        <p:txBody>
          <a:bodyPr/>
          <a:lstStyle/>
          <a:p>
            <a:fld id="{E59C716A-E560-2D44-8739-72D446B232A5}" type="slidenum">
              <a:rPr lang="en-US" smtClean="0"/>
              <a:pPr/>
              <a:t>‹#›</a:t>
            </a:fld>
            <a:endParaRPr lang="en-US"/>
          </a:p>
        </p:txBody>
      </p:sp>
    </p:spTree>
    <p:extLst>
      <p:ext uri="{BB962C8B-B14F-4D97-AF65-F5344CB8AC3E}">
        <p14:creationId xmlns:p14="http://schemas.microsoft.com/office/powerpoint/2010/main" val="3699961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E8805632-84E3-CE4C-ABBB-A2841289972B}"/>
              </a:ext>
            </a:extLst>
          </p:cNvPr>
          <p:cNvSpPr>
            <a:spLocks noChangeAspect="1" noEditPoints="1"/>
          </p:cNvSpPr>
          <p:nvPr userDrawn="1"/>
        </p:nvSpPr>
        <p:spPr bwMode="hidden">
          <a:xfrm>
            <a:off x="3291840" y="4340353"/>
            <a:ext cx="8778240" cy="2513708"/>
          </a:xfrm>
          <a:custGeom>
            <a:avLst/>
            <a:gdLst>
              <a:gd name="T0" fmla="*/ 1026 w 8880"/>
              <a:gd name="T1" fmla="*/ 2537 h 2537"/>
              <a:gd name="T2" fmla="*/ 3177 w 8880"/>
              <a:gd name="T3" fmla="*/ 2109 h 2537"/>
              <a:gd name="T4" fmla="*/ 5328 w 8880"/>
              <a:gd name="T5" fmla="*/ 2537 h 2537"/>
              <a:gd name="T6" fmla="*/ 1026 w 8880"/>
              <a:gd name="T7" fmla="*/ 2537 h 2537"/>
              <a:gd name="T8" fmla="*/ 551 w 8880"/>
              <a:gd name="T9" fmla="*/ 2537 h 2537"/>
              <a:gd name="T10" fmla="*/ 5803 w 8880"/>
              <a:gd name="T11" fmla="*/ 2537 h 2537"/>
              <a:gd name="T12" fmla="*/ 5126 w 8880"/>
              <a:gd name="T13" fmla="*/ 2193 h 2537"/>
              <a:gd name="T14" fmla="*/ 5819 w 8880"/>
              <a:gd name="T15" fmla="*/ 2312 h 2537"/>
              <a:gd name="T16" fmla="*/ 6076 w 8880"/>
              <a:gd name="T17" fmla="*/ 2292 h 2537"/>
              <a:gd name="T18" fmla="*/ 6885 w 8880"/>
              <a:gd name="T19" fmla="*/ 2134 h 2537"/>
              <a:gd name="T20" fmla="*/ 7084 w 8880"/>
              <a:gd name="T21" fmla="*/ 2023 h 2537"/>
              <a:gd name="T22" fmla="*/ 7328 w 8880"/>
              <a:gd name="T23" fmla="*/ 1658 h 2537"/>
              <a:gd name="T24" fmla="*/ 7967 w 8880"/>
              <a:gd name="T25" fmla="*/ 1152 h 2537"/>
              <a:gd name="T26" fmla="*/ 7308 w 8880"/>
              <a:gd name="T27" fmla="*/ 767 h 2537"/>
              <a:gd name="T28" fmla="*/ 8655 w 8880"/>
              <a:gd name="T29" fmla="*/ 767 h 2537"/>
              <a:gd name="T30" fmla="*/ 7358 w 8880"/>
              <a:gd name="T31" fmla="*/ 2537 h 2537"/>
              <a:gd name="T32" fmla="*/ 8779 w 8880"/>
              <a:gd name="T33" fmla="*/ 2537 h 2537"/>
              <a:gd name="T34" fmla="*/ 8531 w 8880"/>
              <a:gd name="T35" fmla="*/ 1602 h 2537"/>
              <a:gd name="T36" fmla="*/ 8750 w 8880"/>
              <a:gd name="T37" fmla="*/ 767 h 2537"/>
              <a:gd name="T38" fmla="*/ 8750 w 8880"/>
              <a:gd name="T39" fmla="*/ 766 h 2537"/>
              <a:gd name="T40" fmla="*/ 7214 w 8880"/>
              <a:gd name="T41" fmla="*/ 767 h 2537"/>
              <a:gd name="T42" fmla="*/ 7328 w 8880"/>
              <a:gd name="T43" fmla="*/ 1564 h 2537"/>
              <a:gd name="T44" fmla="*/ 6553 w 8880"/>
              <a:gd name="T45" fmla="*/ 1470 h 2537"/>
              <a:gd name="T46" fmla="*/ 6728 w 8880"/>
              <a:gd name="T47" fmla="*/ 2030 h 2537"/>
              <a:gd name="T48" fmla="*/ 5637 w 8880"/>
              <a:gd name="T49" fmla="*/ 1694 h 2537"/>
              <a:gd name="T50" fmla="*/ 5695 w 8880"/>
              <a:gd name="T51" fmla="*/ 2144 h 2537"/>
              <a:gd name="T52" fmla="*/ 4646 w 8880"/>
              <a:gd name="T53" fmla="*/ 1410 h 2537"/>
              <a:gd name="T54" fmla="*/ 4777 w 8880"/>
              <a:gd name="T55" fmla="*/ 2054 h 2537"/>
              <a:gd name="T56" fmla="*/ 1225 w 8880"/>
              <a:gd name="T57" fmla="*/ 2195 h 2537"/>
              <a:gd name="T58" fmla="*/ 551 w 8880"/>
              <a:gd name="T59" fmla="*/ 2537 h 2537"/>
              <a:gd name="T60" fmla="*/ 4950 w 8880"/>
              <a:gd name="T61" fmla="*/ 1685 h 2537"/>
              <a:gd name="T62" fmla="*/ 4844 w 8880"/>
              <a:gd name="T63" fmla="*/ 1675 h 2537"/>
              <a:gd name="T64" fmla="*/ 5166 w 8880"/>
              <a:gd name="T65" fmla="*/ 2095 h 2537"/>
              <a:gd name="T66" fmla="*/ 4950 w 8880"/>
              <a:gd name="T67" fmla="*/ 1685 h 2537"/>
              <a:gd name="T68" fmla="*/ 6017 w 8880"/>
              <a:gd name="T69" fmla="*/ 1963 h 2537"/>
              <a:gd name="T70" fmla="*/ 5831 w 8880"/>
              <a:gd name="T71" fmla="*/ 1893 h 2537"/>
              <a:gd name="T72" fmla="*/ 5952 w 8880"/>
              <a:gd name="T73" fmla="*/ 2032 h 2537"/>
              <a:gd name="T74" fmla="*/ 8509 w 8880"/>
              <a:gd name="T75" fmla="*/ 766 h 2537"/>
              <a:gd name="T76" fmla="*/ 7454 w 8880"/>
              <a:gd name="T77" fmla="*/ 767 h 2537"/>
              <a:gd name="T78" fmla="*/ 8029 w 8880"/>
              <a:gd name="T79" fmla="*/ 767 h 2537"/>
              <a:gd name="T80" fmla="*/ 7934 w 8880"/>
              <a:gd name="T81" fmla="*/ 719 h 2537"/>
              <a:gd name="T82" fmla="*/ 7741 w 8880"/>
              <a:gd name="T83" fmla="*/ 959 h 2537"/>
              <a:gd name="T84" fmla="*/ 7982 w 8880"/>
              <a:gd name="T85" fmla="*/ 333 h 2537"/>
              <a:gd name="T86" fmla="*/ 7434 w 8880"/>
              <a:gd name="T87" fmla="*/ 2173 h 2537"/>
              <a:gd name="T88" fmla="*/ 7767 w 8880"/>
              <a:gd name="T89" fmla="*/ 1646 h 2537"/>
              <a:gd name="T90" fmla="*/ 6788 w 8880"/>
              <a:gd name="T91" fmla="*/ 1670 h 2537"/>
              <a:gd name="T92" fmla="*/ 6782 w 8880"/>
              <a:gd name="T93" fmla="*/ 1775 h 2537"/>
              <a:gd name="T94" fmla="*/ 8269 w 8880"/>
              <a:gd name="T95" fmla="*/ 767 h 2537"/>
              <a:gd name="T96" fmla="*/ 7694 w 8880"/>
              <a:gd name="T97" fmla="*/ 767 h 2537"/>
              <a:gd name="T98" fmla="*/ 7789 w 8880"/>
              <a:gd name="T99" fmla="*/ 814 h 2537"/>
              <a:gd name="T100" fmla="*/ 7982 w 8880"/>
              <a:gd name="T101" fmla="*/ 574 h 2537"/>
              <a:gd name="T102" fmla="*/ 7767 w 8880"/>
              <a:gd name="T103" fmla="*/ 1646 h 2537"/>
              <a:gd name="T104" fmla="*/ 1668 w 8880"/>
              <a:gd name="T105" fmla="*/ 2537 h 2537"/>
              <a:gd name="T106" fmla="*/ 3177 w 8880"/>
              <a:gd name="T107" fmla="*/ 2349 h 2537"/>
              <a:gd name="T108" fmla="*/ 4686 w 8880"/>
              <a:gd name="T109" fmla="*/ 2537 h 2537"/>
              <a:gd name="T110" fmla="*/ 1668 w 8880"/>
              <a:gd name="T111" fmla="*/ 2537 h 2537"/>
              <a:gd name="T112" fmla="*/ 8317 w 8880"/>
              <a:gd name="T113" fmla="*/ 2129 h 2537"/>
              <a:gd name="T114" fmla="*/ 8383 w 8880"/>
              <a:gd name="T115" fmla="*/ 2537 h 2537"/>
              <a:gd name="T116" fmla="*/ 7946 w 8880"/>
              <a:gd name="T117" fmla="*/ 2537 h 2537"/>
              <a:gd name="T118" fmla="*/ 8317 w 8880"/>
              <a:gd name="T119" fmla="*/ 2129 h 2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80" h="2537">
                <a:moveTo>
                  <a:pt x="1026" y="2537"/>
                </a:moveTo>
                <a:lnTo>
                  <a:pt x="1026" y="2537"/>
                </a:lnTo>
                <a:lnTo>
                  <a:pt x="1280" y="2537"/>
                </a:lnTo>
                <a:cubicBezTo>
                  <a:pt x="1783" y="2330"/>
                  <a:pt x="2286" y="2109"/>
                  <a:pt x="3177" y="2109"/>
                </a:cubicBezTo>
                <a:cubicBezTo>
                  <a:pt x="4068" y="2109"/>
                  <a:pt x="4571" y="2330"/>
                  <a:pt x="5074" y="2537"/>
                </a:cubicBezTo>
                <a:lnTo>
                  <a:pt x="5328" y="2537"/>
                </a:lnTo>
                <a:cubicBezTo>
                  <a:pt x="4739" y="2310"/>
                  <a:pt x="4220" y="2014"/>
                  <a:pt x="3177" y="2014"/>
                </a:cubicBezTo>
                <a:cubicBezTo>
                  <a:pt x="2134" y="2014"/>
                  <a:pt x="1616" y="2310"/>
                  <a:pt x="1026" y="2537"/>
                </a:cubicBezTo>
                <a:close/>
                <a:moveTo>
                  <a:pt x="551" y="2537"/>
                </a:moveTo>
                <a:lnTo>
                  <a:pt x="551" y="2537"/>
                </a:lnTo>
                <a:cubicBezTo>
                  <a:pt x="1357" y="2323"/>
                  <a:pt x="1850" y="1865"/>
                  <a:pt x="3177" y="1865"/>
                </a:cubicBezTo>
                <a:cubicBezTo>
                  <a:pt x="4504" y="1865"/>
                  <a:pt x="4997" y="2323"/>
                  <a:pt x="5803" y="2537"/>
                </a:cubicBezTo>
                <a:lnTo>
                  <a:pt x="6355" y="2537"/>
                </a:lnTo>
                <a:cubicBezTo>
                  <a:pt x="5856" y="2494"/>
                  <a:pt x="5499" y="2347"/>
                  <a:pt x="5126" y="2193"/>
                </a:cubicBezTo>
                <a:cubicBezTo>
                  <a:pt x="4805" y="2061"/>
                  <a:pt x="4743" y="1856"/>
                  <a:pt x="4741" y="1506"/>
                </a:cubicBezTo>
                <a:cubicBezTo>
                  <a:pt x="5184" y="1543"/>
                  <a:pt x="5285" y="2106"/>
                  <a:pt x="5819" y="2312"/>
                </a:cubicBezTo>
                <a:cubicBezTo>
                  <a:pt x="5988" y="2382"/>
                  <a:pt x="6169" y="2413"/>
                  <a:pt x="6336" y="2426"/>
                </a:cubicBezTo>
                <a:cubicBezTo>
                  <a:pt x="6245" y="2391"/>
                  <a:pt x="6158" y="2346"/>
                  <a:pt x="6076" y="2292"/>
                </a:cubicBezTo>
                <a:cubicBezTo>
                  <a:pt x="5858" y="2243"/>
                  <a:pt x="5737" y="2200"/>
                  <a:pt x="5732" y="1790"/>
                </a:cubicBezTo>
                <a:cubicBezTo>
                  <a:pt x="6266" y="1807"/>
                  <a:pt x="6287" y="2134"/>
                  <a:pt x="6885" y="2134"/>
                </a:cubicBezTo>
                <a:cubicBezTo>
                  <a:pt x="7071" y="2134"/>
                  <a:pt x="7249" y="2097"/>
                  <a:pt x="7411" y="2031"/>
                </a:cubicBezTo>
                <a:cubicBezTo>
                  <a:pt x="7310" y="2043"/>
                  <a:pt x="7212" y="2044"/>
                  <a:pt x="7084" y="2023"/>
                </a:cubicBezTo>
                <a:cubicBezTo>
                  <a:pt x="6781" y="2069"/>
                  <a:pt x="6661" y="1870"/>
                  <a:pt x="6649" y="1565"/>
                </a:cubicBezTo>
                <a:cubicBezTo>
                  <a:pt x="6966" y="1573"/>
                  <a:pt x="7084" y="1658"/>
                  <a:pt x="7328" y="1658"/>
                </a:cubicBezTo>
                <a:cubicBezTo>
                  <a:pt x="7568" y="1658"/>
                  <a:pt x="7788" y="1505"/>
                  <a:pt x="7918" y="1249"/>
                </a:cubicBezTo>
                <a:lnTo>
                  <a:pt x="7967" y="1152"/>
                </a:lnTo>
                <a:lnTo>
                  <a:pt x="7862" y="1183"/>
                </a:lnTo>
                <a:cubicBezTo>
                  <a:pt x="7585" y="1263"/>
                  <a:pt x="7308" y="1054"/>
                  <a:pt x="7308" y="767"/>
                </a:cubicBezTo>
                <a:cubicBezTo>
                  <a:pt x="7308" y="395"/>
                  <a:pt x="7610" y="93"/>
                  <a:pt x="7982" y="93"/>
                </a:cubicBezTo>
                <a:cubicBezTo>
                  <a:pt x="8353" y="93"/>
                  <a:pt x="8655" y="395"/>
                  <a:pt x="8655" y="767"/>
                </a:cubicBezTo>
                <a:cubicBezTo>
                  <a:pt x="8655" y="1678"/>
                  <a:pt x="7887" y="2431"/>
                  <a:pt x="6900" y="2537"/>
                </a:cubicBezTo>
                <a:lnTo>
                  <a:pt x="7358" y="2537"/>
                </a:lnTo>
                <a:cubicBezTo>
                  <a:pt x="7828" y="2387"/>
                  <a:pt x="8221" y="2089"/>
                  <a:pt x="8468" y="1706"/>
                </a:cubicBezTo>
                <a:lnTo>
                  <a:pt x="8779" y="2537"/>
                </a:lnTo>
                <a:lnTo>
                  <a:pt x="8880" y="2537"/>
                </a:lnTo>
                <a:lnTo>
                  <a:pt x="8531" y="1602"/>
                </a:lnTo>
                <a:cubicBezTo>
                  <a:pt x="8670" y="1350"/>
                  <a:pt x="8749" y="1067"/>
                  <a:pt x="8750" y="767"/>
                </a:cubicBezTo>
                <a:lnTo>
                  <a:pt x="8750" y="767"/>
                </a:lnTo>
                <a:lnTo>
                  <a:pt x="8750" y="766"/>
                </a:lnTo>
                <a:lnTo>
                  <a:pt x="8750" y="766"/>
                </a:lnTo>
                <a:cubicBezTo>
                  <a:pt x="8749" y="343"/>
                  <a:pt x="8405" y="0"/>
                  <a:pt x="7982" y="0"/>
                </a:cubicBezTo>
                <a:cubicBezTo>
                  <a:pt x="7558" y="0"/>
                  <a:pt x="7214" y="343"/>
                  <a:pt x="7214" y="767"/>
                </a:cubicBezTo>
                <a:cubicBezTo>
                  <a:pt x="7214" y="1073"/>
                  <a:pt x="7475" y="1317"/>
                  <a:pt x="7783" y="1293"/>
                </a:cubicBezTo>
                <a:cubicBezTo>
                  <a:pt x="7669" y="1464"/>
                  <a:pt x="7504" y="1564"/>
                  <a:pt x="7328" y="1564"/>
                </a:cubicBezTo>
                <a:cubicBezTo>
                  <a:pt x="7089" y="1564"/>
                  <a:pt x="6965" y="1470"/>
                  <a:pt x="6600" y="1470"/>
                </a:cubicBezTo>
                <a:lnTo>
                  <a:pt x="6553" y="1470"/>
                </a:lnTo>
                <a:lnTo>
                  <a:pt x="6553" y="1517"/>
                </a:lnTo>
                <a:cubicBezTo>
                  <a:pt x="6553" y="1752"/>
                  <a:pt x="6614" y="1929"/>
                  <a:pt x="6728" y="2030"/>
                </a:cubicBezTo>
                <a:cubicBezTo>
                  <a:pt x="6299" y="1976"/>
                  <a:pt x="6239" y="1694"/>
                  <a:pt x="5684" y="1694"/>
                </a:cubicBezTo>
                <a:lnTo>
                  <a:pt x="5637" y="1694"/>
                </a:lnTo>
                <a:lnTo>
                  <a:pt x="5637" y="1742"/>
                </a:lnTo>
                <a:cubicBezTo>
                  <a:pt x="5637" y="1885"/>
                  <a:pt x="5644" y="2029"/>
                  <a:pt x="5695" y="2144"/>
                </a:cubicBezTo>
                <a:cubicBezTo>
                  <a:pt x="5303" y="1896"/>
                  <a:pt x="5177" y="1410"/>
                  <a:pt x="4693" y="1410"/>
                </a:cubicBezTo>
                <a:lnTo>
                  <a:pt x="4646" y="1410"/>
                </a:lnTo>
                <a:lnTo>
                  <a:pt x="4646" y="1457"/>
                </a:lnTo>
                <a:cubicBezTo>
                  <a:pt x="4646" y="1642"/>
                  <a:pt x="4647" y="1873"/>
                  <a:pt x="4777" y="2054"/>
                </a:cubicBezTo>
                <a:cubicBezTo>
                  <a:pt x="4366" y="1899"/>
                  <a:pt x="3892" y="1770"/>
                  <a:pt x="3177" y="1770"/>
                </a:cubicBezTo>
                <a:cubicBezTo>
                  <a:pt x="2252" y="1770"/>
                  <a:pt x="1730" y="1986"/>
                  <a:pt x="1225" y="2195"/>
                </a:cubicBezTo>
                <a:cubicBezTo>
                  <a:pt x="853" y="2348"/>
                  <a:pt x="498" y="2494"/>
                  <a:pt x="0" y="2537"/>
                </a:cubicBezTo>
                <a:lnTo>
                  <a:pt x="551" y="2537"/>
                </a:lnTo>
                <a:close/>
                <a:moveTo>
                  <a:pt x="4950" y="1685"/>
                </a:moveTo>
                <a:lnTo>
                  <a:pt x="4950" y="1685"/>
                </a:lnTo>
                <a:cubicBezTo>
                  <a:pt x="4915" y="1658"/>
                  <a:pt x="4879" y="1638"/>
                  <a:pt x="4839" y="1623"/>
                </a:cubicBezTo>
                <a:cubicBezTo>
                  <a:pt x="4841" y="1641"/>
                  <a:pt x="4842" y="1658"/>
                  <a:pt x="4844" y="1675"/>
                </a:cubicBezTo>
                <a:cubicBezTo>
                  <a:pt x="4906" y="1825"/>
                  <a:pt x="4997" y="1958"/>
                  <a:pt x="5110" y="2072"/>
                </a:cubicBezTo>
                <a:cubicBezTo>
                  <a:pt x="5128" y="2079"/>
                  <a:pt x="5148" y="2087"/>
                  <a:pt x="5166" y="2095"/>
                </a:cubicBezTo>
                <a:cubicBezTo>
                  <a:pt x="5255" y="2131"/>
                  <a:pt x="5343" y="2168"/>
                  <a:pt x="5432" y="2202"/>
                </a:cubicBezTo>
                <a:cubicBezTo>
                  <a:pt x="5223" y="2082"/>
                  <a:pt x="5052" y="1903"/>
                  <a:pt x="4950" y="1685"/>
                </a:cubicBezTo>
                <a:close/>
                <a:moveTo>
                  <a:pt x="6017" y="1963"/>
                </a:moveTo>
                <a:lnTo>
                  <a:pt x="6017" y="1963"/>
                </a:lnTo>
                <a:cubicBezTo>
                  <a:pt x="6008" y="1955"/>
                  <a:pt x="5995" y="1942"/>
                  <a:pt x="5981" y="1926"/>
                </a:cubicBezTo>
                <a:cubicBezTo>
                  <a:pt x="5936" y="1912"/>
                  <a:pt x="5888" y="1900"/>
                  <a:pt x="5831" y="1893"/>
                </a:cubicBezTo>
                <a:cubicBezTo>
                  <a:pt x="5831" y="1893"/>
                  <a:pt x="5831" y="1894"/>
                  <a:pt x="5831" y="1894"/>
                </a:cubicBezTo>
                <a:cubicBezTo>
                  <a:pt x="5882" y="1965"/>
                  <a:pt x="5942" y="2022"/>
                  <a:pt x="5952" y="2032"/>
                </a:cubicBezTo>
                <a:cubicBezTo>
                  <a:pt x="6348" y="2409"/>
                  <a:pt x="6915" y="2499"/>
                  <a:pt x="7471" y="2260"/>
                </a:cubicBezTo>
                <a:cubicBezTo>
                  <a:pt x="8092" y="1994"/>
                  <a:pt x="8509" y="1394"/>
                  <a:pt x="8509" y="766"/>
                </a:cubicBezTo>
                <a:cubicBezTo>
                  <a:pt x="8509" y="476"/>
                  <a:pt x="8273" y="239"/>
                  <a:pt x="7982" y="239"/>
                </a:cubicBezTo>
                <a:cubicBezTo>
                  <a:pt x="7691" y="239"/>
                  <a:pt x="7454" y="476"/>
                  <a:pt x="7454" y="767"/>
                </a:cubicBezTo>
                <a:cubicBezTo>
                  <a:pt x="7454" y="925"/>
                  <a:pt x="7583" y="1054"/>
                  <a:pt x="7741" y="1054"/>
                </a:cubicBezTo>
                <a:cubicBezTo>
                  <a:pt x="7900" y="1054"/>
                  <a:pt x="8029" y="925"/>
                  <a:pt x="8029" y="767"/>
                </a:cubicBezTo>
                <a:lnTo>
                  <a:pt x="8029" y="719"/>
                </a:lnTo>
                <a:lnTo>
                  <a:pt x="7934" y="719"/>
                </a:lnTo>
                <a:lnTo>
                  <a:pt x="7934" y="767"/>
                </a:lnTo>
                <a:cubicBezTo>
                  <a:pt x="7934" y="873"/>
                  <a:pt x="7848" y="959"/>
                  <a:pt x="7741" y="959"/>
                </a:cubicBezTo>
                <a:cubicBezTo>
                  <a:pt x="7635" y="959"/>
                  <a:pt x="7548" y="873"/>
                  <a:pt x="7548" y="767"/>
                </a:cubicBezTo>
                <a:cubicBezTo>
                  <a:pt x="7548" y="528"/>
                  <a:pt x="7743" y="333"/>
                  <a:pt x="7982" y="333"/>
                </a:cubicBezTo>
                <a:cubicBezTo>
                  <a:pt x="8220" y="333"/>
                  <a:pt x="8415" y="528"/>
                  <a:pt x="8415" y="767"/>
                </a:cubicBezTo>
                <a:cubicBezTo>
                  <a:pt x="8415" y="1356"/>
                  <a:pt x="8021" y="1922"/>
                  <a:pt x="7434" y="2173"/>
                </a:cubicBezTo>
                <a:cubicBezTo>
                  <a:pt x="6918" y="2395"/>
                  <a:pt x="6389" y="2316"/>
                  <a:pt x="6017" y="1963"/>
                </a:cubicBezTo>
                <a:close/>
                <a:moveTo>
                  <a:pt x="7767" y="1646"/>
                </a:moveTo>
                <a:lnTo>
                  <a:pt x="7767" y="1646"/>
                </a:lnTo>
                <a:cubicBezTo>
                  <a:pt x="7417" y="1903"/>
                  <a:pt x="6998" y="1798"/>
                  <a:pt x="6788" y="1670"/>
                </a:cubicBezTo>
                <a:cubicBezTo>
                  <a:pt x="6776" y="1669"/>
                  <a:pt x="6765" y="1667"/>
                  <a:pt x="6753" y="1666"/>
                </a:cubicBezTo>
                <a:cubicBezTo>
                  <a:pt x="6760" y="1707"/>
                  <a:pt x="6769" y="1743"/>
                  <a:pt x="6782" y="1775"/>
                </a:cubicBezTo>
                <a:cubicBezTo>
                  <a:pt x="7085" y="1938"/>
                  <a:pt x="7503" y="1957"/>
                  <a:pt x="7823" y="1723"/>
                </a:cubicBezTo>
                <a:cubicBezTo>
                  <a:pt x="8102" y="1518"/>
                  <a:pt x="8269" y="1160"/>
                  <a:pt x="8269" y="767"/>
                </a:cubicBezTo>
                <a:cubicBezTo>
                  <a:pt x="8269" y="608"/>
                  <a:pt x="8140" y="479"/>
                  <a:pt x="7982" y="479"/>
                </a:cubicBezTo>
                <a:cubicBezTo>
                  <a:pt x="7823" y="479"/>
                  <a:pt x="7694" y="608"/>
                  <a:pt x="7694" y="767"/>
                </a:cubicBezTo>
                <a:lnTo>
                  <a:pt x="7694" y="814"/>
                </a:lnTo>
                <a:lnTo>
                  <a:pt x="7789" y="814"/>
                </a:lnTo>
                <a:lnTo>
                  <a:pt x="7789" y="767"/>
                </a:lnTo>
                <a:cubicBezTo>
                  <a:pt x="7789" y="660"/>
                  <a:pt x="7875" y="574"/>
                  <a:pt x="7982" y="574"/>
                </a:cubicBezTo>
                <a:cubicBezTo>
                  <a:pt x="8088" y="574"/>
                  <a:pt x="8174" y="660"/>
                  <a:pt x="8174" y="767"/>
                </a:cubicBezTo>
                <a:cubicBezTo>
                  <a:pt x="8174" y="1130"/>
                  <a:pt x="8022" y="1459"/>
                  <a:pt x="7767" y="1646"/>
                </a:cubicBezTo>
                <a:close/>
                <a:moveTo>
                  <a:pt x="1668" y="2537"/>
                </a:moveTo>
                <a:lnTo>
                  <a:pt x="1668" y="2537"/>
                </a:lnTo>
                <a:lnTo>
                  <a:pt x="1950" y="2537"/>
                </a:lnTo>
                <a:cubicBezTo>
                  <a:pt x="2282" y="2429"/>
                  <a:pt x="2664" y="2349"/>
                  <a:pt x="3177" y="2349"/>
                </a:cubicBezTo>
                <a:cubicBezTo>
                  <a:pt x="3690" y="2349"/>
                  <a:pt x="4072" y="2429"/>
                  <a:pt x="4404" y="2537"/>
                </a:cubicBezTo>
                <a:lnTo>
                  <a:pt x="4686" y="2537"/>
                </a:lnTo>
                <a:cubicBezTo>
                  <a:pt x="4288" y="2384"/>
                  <a:pt x="3842" y="2254"/>
                  <a:pt x="3177" y="2254"/>
                </a:cubicBezTo>
                <a:cubicBezTo>
                  <a:pt x="2512" y="2254"/>
                  <a:pt x="2067" y="2384"/>
                  <a:pt x="1668" y="2537"/>
                </a:cubicBezTo>
                <a:close/>
                <a:moveTo>
                  <a:pt x="8317" y="2129"/>
                </a:moveTo>
                <a:lnTo>
                  <a:pt x="8317" y="2129"/>
                </a:lnTo>
                <a:lnTo>
                  <a:pt x="8485" y="2537"/>
                </a:lnTo>
                <a:lnTo>
                  <a:pt x="8383" y="2537"/>
                </a:lnTo>
                <a:lnTo>
                  <a:pt x="8281" y="2291"/>
                </a:lnTo>
                <a:cubicBezTo>
                  <a:pt x="8177" y="2384"/>
                  <a:pt x="8065" y="2466"/>
                  <a:pt x="7946" y="2537"/>
                </a:cubicBezTo>
                <a:lnTo>
                  <a:pt x="7748" y="2537"/>
                </a:lnTo>
                <a:cubicBezTo>
                  <a:pt x="7947" y="2434"/>
                  <a:pt x="8137" y="2298"/>
                  <a:pt x="8317" y="2129"/>
                </a:cubicBezTo>
                <a:close/>
              </a:path>
            </a:pathLst>
          </a:custGeom>
          <a:solidFill>
            <a:srgbClr val="006FC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 name="Title 1">
            <a:extLst>
              <a:ext uri="{FF2B5EF4-FFF2-40B4-BE49-F238E27FC236}">
                <a16:creationId xmlns:a16="http://schemas.microsoft.com/office/drawing/2014/main" id="{50953EBE-000A-4847-AECD-FAA20C0B0545}"/>
              </a:ext>
            </a:extLst>
          </p:cNvPr>
          <p:cNvSpPr txBox="1">
            <a:spLocks/>
          </p:cNvSpPr>
          <p:nvPr userDrawn="1"/>
        </p:nvSpPr>
        <p:spPr>
          <a:xfrm>
            <a:off x="609601" y="1654041"/>
            <a:ext cx="5304367" cy="727388"/>
          </a:xfrm>
          <a:prstGeom prst="rect">
            <a:avLst/>
          </a:prstGeom>
          <a:noFill/>
        </p:spPr>
        <p:txBody>
          <a:bodyPr vert="horz" lIns="0" tIns="0" rIns="0" bIns="0" rtlCol="0" anchor="t" anchorCtr="0">
            <a:noAutofit/>
          </a:bodyPr>
          <a:lstStyle>
            <a:lvl1pPr algn="l" defTabSz="685800" rtl="0" eaLnBrk="1" latinLnBrk="0" hangingPunct="1">
              <a:lnSpc>
                <a:spcPct val="90000"/>
              </a:lnSpc>
              <a:spcBef>
                <a:spcPct val="0"/>
              </a:spcBef>
              <a:buNone/>
              <a:defRPr sz="2400" kern="1200" spc="-40" baseline="0">
                <a:solidFill>
                  <a:schemeClr val="bg2"/>
                </a:solidFill>
                <a:latin typeface="+mj-lt"/>
                <a:ea typeface="+mj-ea"/>
                <a:cs typeface="+mj-cs"/>
              </a:defRPr>
            </a:lvl1pPr>
          </a:lstStyle>
          <a:p>
            <a:r>
              <a:rPr lang="en-US" sz="4267" spc="-80" baseline="0">
                <a:solidFill>
                  <a:schemeClr val="bg2"/>
                </a:solidFill>
              </a:rPr>
              <a:t>Thank you</a:t>
            </a:r>
          </a:p>
        </p:txBody>
      </p:sp>
      <p:sp>
        <p:nvSpPr>
          <p:cNvPr id="3" name="Text Placeholder 2">
            <a:extLst>
              <a:ext uri="{FF2B5EF4-FFF2-40B4-BE49-F238E27FC236}">
                <a16:creationId xmlns:a16="http://schemas.microsoft.com/office/drawing/2014/main" id="{725C8422-08BB-9643-8698-4BD671D3326F}"/>
              </a:ext>
            </a:extLst>
          </p:cNvPr>
          <p:cNvSpPr>
            <a:spLocks noGrp="1"/>
          </p:cNvSpPr>
          <p:nvPr>
            <p:ph type="body" sz="quarter" idx="10" hasCustomPrompt="1"/>
          </p:nvPr>
        </p:nvSpPr>
        <p:spPr>
          <a:xfrm>
            <a:off x="609599" y="2552345"/>
            <a:ext cx="5304367" cy="3354843"/>
          </a:xfrm>
        </p:spPr>
        <p:txBody>
          <a:bodyPr>
            <a:normAutofit/>
          </a:bodyPr>
          <a:lstStyle>
            <a:lvl1pPr marL="0" indent="0">
              <a:lnSpc>
                <a:spcPct val="100000"/>
              </a:lnSpc>
              <a:spcBef>
                <a:spcPts val="0"/>
              </a:spcBef>
              <a:buFont typeface="Arial" pitchFamily="34" charset="0"/>
              <a:buNone/>
              <a:defRPr sz="1333">
                <a:solidFill>
                  <a:schemeClr val="tx1"/>
                </a:solidFill>
              </a:defRPr>
            </a:lvl1pPr>
            <a:lvl2pPr marL="0" indent="0">
              <a:lnSpc>
                <a:spcPct val="100000"/>
              </a:lnSpc>
              <a:spcBef>
                <a:spcPts val="0"/>
              </a:spcBef>
              <a:buSzPct val="120000"/>
              <a:buFont typeface="Arial" pitchFamily="34" charset="0"/>
              <a:buNone/>
              <a:defRPr sz="1333">
                <a:solidFill>
                  <a:schemeClr val="tx1"/>
                </a:solidFill>
              </a:defRPr>
            </a:lvl2pPr>
            <a:lvl3pPr marL="234690" indent="0">
              <a:lnSpc>
                <a:spcPct val="100000"/>
              </a:lnSpc>
              <a:spcBef>
                <a:spcPts val="0"/>
              </a:spcBef>
              <a:buNone/>
              <a:defRPr sz="1333">
                <a:solidFill>
                  <a:schemeClr val="tx1"/>
                </a:solidFill>
              </a:defRPr>
            </a:lvl3pPr>
            <a:lvl4pPr marL="454141" indent="0">
              <a:lnSpc>
                <a:spcPct val="100000"/>
              </a:lnSpc>
              <a:spcBef>
                <a:spcPts val="0"/>
              </a:spcBef>
              <a:buNone/>
              <a:defRPr sz="1333">
                <a:solidFill>
                  <a:schemeClr val="tx1"/>
                </a:solidFill>
              </a:defRPr>
            </a:lvl4pPr>
            <a:lvl5pPr marL="685783" indent="0">
              <a:lnSpc>
                <a:spcPct val="100000"/>
              </a:lnSpc>
              <a:spcBef>
                <a:spcPts val="0"/>
              </a:spcBef>
              <a:buNone/>
              <a:defRPr sz="1333">
                <a:solidFill>
                  <a:schemeClr val="tx1"/>
                </a:solidFill>
              </a:defRPr>
            </a:lvl5pPr>
            <a:lvl6pPr marL="917425" indent="0">
              <a:lnSpc>
                <a:spcPct val="100000"/>
              </a:lnSpc>
              <a:spcBef>
                <a:spcPts val="0"/>
              </a:spcBef>
              <a:buNone/>
              <a:defRPr sz="1333">
                <a:solidFill>
                  <a:schemeClr val="tx1"/>
                </a:solidFill>
              </a:defRPr>
            </a:lvl6pPr>
            <a:lvl7pPr marL="1136876" indent="0">
              <a:lnSpc>
                <a:spcPct val="100000"/>
              </a:lnSpc>
              <a:spcBef>
                <a:spcPts val="0"/>
              </a:spcBef>
              <a:buNone/>
              <a:defRPr sz="1333">
                <a:solidFill>
                  <a:schemeClr val="tx1"/>
                </a:solidFill>
              </a:defRPr>
            </a:lvl7pPr>
            <a:lvl8pPr marL="1368518" indent="0">
              <a:lnSpc>
                <a:spcPct val="100000"/>
              </a:lnSpc>
              <a:spcBef>
                <a:spcPts val="0"/>
              </a:spcBef>
              <a:buNone/>
              <a:defRPr sz="1333">
                <a:solidFill>
                  <a:schemeClr val="tx1"/>
                </a:solidFill>
              </a:defRPr>
            </a:lvl8pPr>
            <a:lvl9pPr marL="1600160" indent="0">
              <a:lnSpc>
                <a:spcPct val="100000"/>
              </a:lnSpc>
              <a:spcBef>
                <a:spcPts val="0"/>
              </a:spcBef>
              <a:buNone/>
              <a:defRPr sz="1333">
                <a:solidFill>
                  <a:schemeClr val="tx1"/>
                </a:solidFill>
              </a:defRPr>
            </a:lvl9pPr>
          </a:lstStyle>
          <a:p>
            <a:pPr lvl="0"/>
            <a:r>
              <a:rPr lang="en-US"/>
              <a:t>Optional contact information</a:t>
            </a:r>
          </a:p>
        </p:txBody>
      </p:sp>
      <p:pic>
        <p:nvPicPr>
          <p:cNvPr id="9" name="Picture 8">
            <a:extLst>
              <a:ext uri="{FF2B5EF4-FFF2-40B4-BE49-F238E27FC236}">
                <a16:creationId xmlns:a16="http://schemas.microsoft.com/office/drawing/2014/main" id="{EAE82B13-13AC-994D-B028-46AE92867DE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59087" y="6042361"/>
            <a:ext cx="2670048" cy="463908"/>
          </a:xfrm>
          <a:prstGeom prst="rect">
            <a:avLst/>
          </a:prstGeom>
        </p:spPr>
      </p:pic>
      <p:pic>
        <p:nvPicPr>
          <p:cNvPr id="7" name="Picture 6">
            <a:extLst>
              <a:ext uri="{FF2B5EF4-FFF2-40B4-BE49-F238E27FC236}">
                <a16:creationId xmlns:a16="http://schemas.microsoft.com/office/drawing/2014/main" id="{34728244-1361-5F4C-B4B2-6000550B247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9007" y="5907194"/>
            <a:ext cx="734244" cy="734244"/>
          </a:xfrm>
          <a:prstGeom prst="rect">
            <a:avLst/>
          </a:prstGeom>
        </p:spPr>
      </p:pic>
    </p:spTree>
    <p:extLst>
      <p:ext uri="{BB962C8B-B14F-4D97-AF65-F5344CB8AC3E}">
        <p14:creationId xmlns:p14="http://schemas.microsoft.com/office/powerpoint/2010/main" val="608325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One Column with Header">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0356CECD-5917-4380-B3FE-5B4FEEFB6438}"/>
              </a:ext>
            </a:extLst>
          </p:cNvPr>
          <p:cNvSpPr>
            <a:spLocks noGrp="1"/>
          </p:cNvSpPr>
          <p:nvPr>
            <p:ph sz="half" idx="1" hasCustomPrompt="1"/>
          </p:nvPr>
        </p:nvSpPr>
        <p:spPr>
          <a:xfrm>
            <a:off x="600076" y="1164794"/>
            <a:ext cx="10991850" cy="292531"/>
          </a:xfrm>
          <a:prstGeom prst="rect">
            <a:avLst/>
          </a:prstGeom>
        </p:spPr>
        <p:txBody>
          <a:bodyPr/>
          <a:lstStyle>
            <a:lvl1pPr marL="0" indent="0" algn="l">
              <a:buNone/>
              <a:defRPr sz="2000" b="0" i="0" spc="0">
                <a:solidFill>
                  <a:srgbClr val="00175A"/>
                </a:solidFill>
                <a:latin typeface="BentonSans Bold" panose="02000503000000020004" pitchFamily="2" charset="0"/>
              </a:defRPr>
            </a:lvl1pPr>
          </a:lstStyle>
          <a:p>
            <a:pPr lvl="0"/>
            <a:r>
              <a:rPr lang="en-US"/>
              <a:t>HEADER</a:t>
            </a:r>
          </a:p>
        </p:txBody>
      </p:sp>
      <p:sp>
        <p:nvSpPr>
          <p:cNvPr id="10" name="Content Placeholder 2">
            <a:extLst>
              <a:ext uri="{FF2B5EF4-FFF2-40B4-BE49-F238E27FC236}">
                <a16:creationId xmlns:a16="http://schemas.microsoft.com/office/drawing/2014/main" id="{82A3DAE5-1132-435D-ADF6-B1528DE15FB8}"/>
              </a:ext>
            </a:extLst>
          </p:cNvPr>
          <p:cNvSpPr>
            <a:spLocks noGrp="1"/>
          </p:cNvSpPr>
          <p:nvPr>
            <p:ph sz="half" idx="13" hasCustomPrompt="1"/>
          </p:nvPr>
        </p:nvSpPr>
        <p:spPr>
          <a:xfrm>
            <a:off x="600076" y="1762963"/>
            <a:ext cx="10991850" cy="3677082"/>
          </a:xfrm>
          <a:prstGeom prst="rect">
            <a:avLst/>
          </a:prstGeom>
        </p:spPr>
        <p:txBody>
          <a:bodyPr/>
          <a:lstStyle>
            <a:lvl1pPr marL="0" indent="0" algn="l">
              <a:buNone/>
              <a:defRPr sz="2000" b="0" i="0" spc="0">
                <a:solidFill>
                  <a:srgbClr val="00175A"/>
                </a:solidFill>
                <a:latin typeface="BentonSans Book" panose="02000503000000020004" pitchFamily="2" charset="0"/>
              </a:defRPr>
            </a:lvl1pPr>
          </a:lstStyle>
          <a:p>
            <a:pPr lvl="0"/>
            <a:r>
              <a:rPr lang="en-US"/>
              <a:t>Body Copy</a:t>
            </a:r>
          </a:p>
        </p:txBody>
      </p:sp>
      <p:sp>
        <p:nvSpPr>
          <p:cNvPr id="12" name="Slide Number Placeholder 5">
            <a:extLst>
              <a:ext uri="{FF2B5EF4-FFF2-40B4-BE49-F238E27FC236}">
                <a16:creationId xmlns:a16="http://schemas.microsoft.com/office/drawing/2014/main" id="{893DF519-82D6-4089-858F-0A67C3841821}"/>
              </a:ext>
            </a:extLst>
          </p:cNvPr>
          <p:cNvSpPr>
            <a:spLocks noGrp="1"/>
          </p:cNvSpPr>
          <p:nvPr>
            <p:ph type="sldNum" sz="quarter" idx="16"/>
          </p:nvPr>
        </p:nvSpPr>
        <p:spPr>
          <a:xfrm>
            <a:off x="8984673" y="6356350"/>
            <a:ext cx="2743200" cy="365125"/>
          </a:xfrm>
          <a:prstGeom prst="rect">
            <a:avLst/>
          </a:prstGeom>
        </p:spPr>
        <p:txBody>
          <a:bodyPr/>
          <a:lstStyle/>
          <a:p>
            <a:fld id="{98A0C587-F233-4E5E-858E-FB1E8E13E555}" type="slidenum">
              <a:rPr lang="en-US" smtClean="0"/>
              <a:t>‹#›</a:t>
            </a:fld>
            <a:endParaRPr lang="en-US"/>
          </a:p>
        </p:txBody>
      </p:sp>
      <p:sp>
        <p:nvSpPr>
          <p:cNvPr id="2" name="Title 1">
            <a:extLst>
              <a:ext uri="{FF2B5EF4-FFF2-40B4-BE49-F238E27FC236}">
                <a16:creationId xmlns:a16="http://schemas.microsoft.com/office/drawing/2014/main" id="{454C057C-E290-4EC4-9F2A-579997BF778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36976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Blue">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E8805632-84E3-CE4C-ABBB-A2841289972B}"/>
              </a:ext>
            </a:extLst>
          </p:cNvPr>
          <p:cNvSpPr>
            <a:spLocks noChangeAspect="1" noEditPoints="1"/>
          </p:cNvSpPr>
          <p:nvPr userDrawn="1"/>
        </p:nvSpPr>
        <p:spPr bwMode="hidden">
          <a:xfrm>
            <a:off x="3291840" y="4340353"/>
            <a:ext cx="8778240" cy="2513708"/>
          </a:xfrm>
          <a:custGeom>
            <a:avLst/>
            <a:gdLst>
              <a:gd name="T0" fmla="*/ 1026 w 8880"/>
              <a:gd name="T1" fmla="*/ 2537 h 2537"/>
              <a:gd name="T2" fmla="*/ 3177 w 8880"/>
              <a:gd name="T3" fmla="*/ 2109 h 2537"/>
              <a:gd name="T4" fmla="*/ 5328 w 8880"/>
              <a:gd name="T5" fmla="*/ 2537 h 2537"/>
              <a:gd name="T6" fmla="*/ 1026 w 8880"/>
              <a:gd name="T7" fmla="*/ 2537 h 2537"/>
              <a:gd name="T8" fmla="*/ 551 w 8880"/>
              <a:gd name="T9" fmla="*/ 2537 h 2537"/>
              <a:gd name="T10" fmla="*/ 5803 w 8880"/>
              <a:gd name="T11" fmla="*/ 2537 h 2537"/>
              <a:gd name="T12" fmla="*/ 5126 w 8880"/>
              <a:gd name="T13" fmla="*/ 2193 h 2537"/>
              <a:gd name="T14" fmla="*/ 5819 w 8880"/>
              <a:gd name="T15" fmla="*/ 2312 h 2537"/>
              <a:gd name="T16" fmla="*/ 6076 w 8880"/>
              <a:gd name="T17" fmla="*/ 2292 h 2537"/>
              <a:gd name="T18" fmla="*/ 6885 w 8880"/>
              <a:gd name="T19" fmla="*/ 2134 h 2537"/>
              <a:gd name="T20" fmla="*/ 7084 w 8880"/>
              <a:gd name="T21" fmla="*/ 2023 h 2537"/>
              <a:gd name="T22" fmla="*/ 7328 w 8880"/>
              <a:gd name="T23" fmla="*/ 1658 h 2537"/>
              <a:gd name="T24" fmla="*/ 7967 w 8880"/>
              <a:gd name="T25" fmla="*/ 1152 h 2537"/>
              <a:gd name="T26" fmla="*/ 7308 w 8880"/>
              <a:gd name="T27" fmla="*/ 767 h 2537"/>
              <a:gd name="T28" fmla="*/ 8655 w 8880"/>
              <a:gd name="T29" fmla="*/ 767 h 2537"/>
              <a:gd name="T30" fmla="*/ 7358 w 8880"/>
              <a:gd name="T31" fmla="*/ 2537 h 2537"/>
              <a:gd name="T32" fmla="*/ 8779 w 8880"/>
              <a:gd name="T33" fmla="*/ 2537 h 2537"/>
              <a:gd name="T34" fmla="*/ 8531 w 8880"/>
              <a:gd name="T35" fmla="*/ 1602 h 2537"/>
              <a:gd name="T36" fmla="*/ 8750 w 8880"/>
              <a:gd name="T37" fmla="*/ 767 h 2537"/>
              <a:gd name="T38" fmla="*/ 8750 w 8880"/>
              <a:gd name="T39" fmla="*/ 766 h 2537"/>
              <a:gd name="T40" fmla="*/ 7214 w 8880"/>
              <a:gd name="T41" fmla="*/ 767 h 2537"/>
              <a:gd name="T42" fmla="*/ 7328 w 8880"/>
              <a:gd name="T43" fmla="*/ 1564 h 2537"/>
              <a:gd name="T44" fmla="*/ 6553 w 8880"/>
              <a:gd name="T45" fmla="*/ 1470 h 2537"/>
              <a:gd name="T46" fmla="*/ 6728 w 8880"/>
              <a:gd name="T47" fmla="*/ 2030 h 2537"/>
              <a:gd name="T48" fmla="*/ 5637 w 8880"/>
              <a:gd name="T49" fmla="*/ 1694 h 2537"/>
              <a:gd name="T50" fmla="*/ 5695 w 8880"/>
              <a:gd name="T51" fmla="*/ 2144 h 2537"/>
              <a:gd name="T52" fmla="*/ 4646 w 8880"/>
              <a:gd name="T53" fmla="*/ 1410 h 2537"/>
              <a:gd name="T54" fmla="*/ 4777 w 8880"/>
              <a:gd name="T55" fmla="*/ 2054 h 2537"/>
              <a:gd name="T56" fmla="*/ 1225 w 8880"/>
              <a:gd name="T57" fmla="*/ 2195 h 2537"/>
              <a:gd name="T58" fmla="*/ 551 w 8880"/>
              <a:gd name="T59" fmla="*/ 2537 h 2537"/>
              <a:gd name="T60" fmla="*/ 4950 w 8880"/>
              <a:gd name="T61" fmla="*/ 1685 h 2537"/>
              <a:gd name="T62" fmla="*/ 4844 w 8880"/>
              <a:gd name="T63" fmla="*/ 1675 h 2537"/>
              <a:gd name="T64" fmla="*/ 5166 w 8880"/>
              <a:gd name="T65" fmla="*/ 2095 h 2537"/>
              <a:gd name="T66" fmla="*/ 4950 w 8880"/>
              <a:gd name="T67" fmla="*/ 1685 h 2537"/>
              <a:gd name="T68" fmla="*/ 6017 w 8880"/>
              <a:gd name="T69" fmla="*/ 1963 h 2537"/>
              <a:gd name="T70" fmla="*/ 5831 w 8880"/>
              <a:gd name="T71" fmla="*/ 1893 h 2537"/>
              <a:gd name="T72" fmla="*/ 5952 w 8880"/>
              <a:gd name="T73" fmla="*/ 2032 h 2537"/>
              <a:gd name="T74" fmla="*/ 8509 w 8880"/>
              <a:gd name="T75" fmla="*/ 766 h 2537"/>
              <a:gd name="T76" fmla="*/ 7454 w 8880"/>
              <a:gd name="T77" fmla="*/ 767 h 2537"/>
              <a:gd name="T78" fmla="*/ 8029 w 8880"/>
              <a:gd name="T79" fmla="*/ 767 h 2537"/>
              <a:gd name="T80" fmla="*/ 7934 w 8880"/>
              <a:gd name="T81" fmla="*/ 719 h 2537"/>
              <a:gd name="T82" fmla="*/ 7741 w 8880"/>
              <a:gd name="T83" fmla="*/ 959 h 2537"/>
              <a:gd name="T84" fmla="*/ 7982 w 8880"/>
              <a:gd name="T85" fmla="*/ 333 h 2537"/>
              <a:gd name="T86" fmla="*/ 7434 w 8880"/>
              <a:gd name="T87" fmla="*/ 2173 h 2537"/>
              <a:gd name="T88" fmla="*/ 7767 w 8880"/>
              <a:gd name="T89" fmla="*/ 1646 h 2537"/>
              <a:gd name="T90" fmla="*/ 6788 w 8880"/>
              <a:gd name="T91" fmla="*/ 1670 h 2537"/>
              <a:gd name="T92" fmla="*/ 6782 w 8880"/>
              <a:gd name="T93" fmla="*/ 1775 h 2537"/>
              <a:gd name="T94" fmla="*/ 8269 w 8880"/>
              <a:gd name="T95" fmla="*/ 767 h 2537"/>
              <a:gd name="T96" fmla="*/ 7694 w 8880"/>
              <a:gd name="T97" fmla="*/ 767 h 2537"/>
              <a:gd name="T98" fmla="*/ 7789 w 8880"/>
              <a:gd name="T99" fmla="*/ 814 h 2537"/>
              <a:gd name="T100" fmla="*/ 7982 w 8880"/>
              <a:gd name="T101" fmla="*/ 574 h 2537"/>
              <a:gd name="T102" fmla="*/ 7767 w 8880"/>
              <a:gd name="T103" fmla="*/ 1646 h 2537"/>
              <a:gd name="T104" fmla="*/ 1668 w 8880"/>
              <a:gd name="T105" fmla="*/ 2537 h 2537"/>
              <a:gd name="T106" fmla="*/ 3177 w 8880"/>
              <a:gd name="T107" fmla="*/ 2349 h 2537"/>
              <a:gd name="T108" fmla="*/ 4686 w 8880"/>
              <a:gd name="T109" fmla="*/ 2537 h 2537"/>
              <a:gd name="T110" fmla="*/ 1668 w 8880"/>
              <a:gd name="T111" fmla="*/ 2537 h 2537"/>
              <a:gd name="T112" fmla="*/ 8317 w 8880"/>
              <a:gd name="T113" fmla="*/ 2129 h 2537"/>
              <a:gd name="T114" fmla="*/ 8383 w 8880"/>
              <a:gd name="T115" fmla="*/ 2537 h 2537"/>
              <a:gd name="T116" fmla="*/ 7946 w 8880"/>
              <a:gd name="T117" fmla="*/ 2537 h 2537"/>
              <a:gd name="T118" fmla="*/ 8317 w 8880"/>
              <a:gd name="T119" fmla="*/ 2129 h 2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80" h="2537">
                <a:moveTo>
                  <a:pt x="1026" y="2537"/>
                </a:moveTo>
                <a:lnTo>
                  <a:pt x="1026" y="2537"/>
                </a:lnTo>
                <a:lnTo>
                  <a:pt x="1280" y="2537"/>
                </a:lnTo>
                <a:cubicBezTo>
                  <a:pt x="1783" y="2330"/>
                  <a:pt x="2286" y="2109"/>
                  <a:pt x="3177" y="2109"/>
                </a:cubicBezTo>
                <a:cubicBezTo>
                  <a:pt x="4068" y="2109"/>
                  <a:pt x="4571" y="2330"/>
                  <a:pt x="5074" y="2537"/>
                </a:cubicBezTo>
                <a:lnTo>
                  <a:pt x="5328" y="2537"/>
                </a:lnTo>
                <a:cubicBezTo>
                  <a:pt x="4739" y="2310"/>
                  <a:pt x="4220" y="2014"/>
                  <a:pt x="3177" y="2014"/>
                </a:cubicBezTo>
                <a:cubicBezTo>
                  <a:pt x="2134" y="2014"/>
                  <a:pt x="1616" y="2310"/>
                  <a:pt x="1026" y="2537"/>
                </a:cubicBezTo>
                <a:close/>
                <a:moveTo>
                  <a:pt x="551" y="2537"/>
                </a:moveTo>
                <a:lnTo>
                  <a:pt x="551" y="2537"/>
                </a:lnTo>
                <a:cubicBezTo>
                  <a:pt x="1357" y="2323"/>
                  <a:pt x="1850" y="1865"/>
                  <a:pt x="3177" y="1865"/>
                </a:cubicBezTo>
                <a:cubicBezTo>
                  <a:pt x="4504" y="1865"/>
                  <a:pt x="4997" y="2323"/>
                  <a:pt x="5803" y="2537"/>
                </a:cubicBezTo>
                <a:lnTo>
                  <a:pt x="6355" y="2537"/>
                </a:lnTo>
                <a:cubicBezTo>
                  <a:pt x="5856" y="2494"/>
                  <a:pt x="5499" y="2347"/>
                  <a:pt x="5126" y="2193"/>
                </a:cubicBezTo>
                <a:cubicBezTo>
                  <a:pt x="4805" y="2061"/>
                  <a:pt x="4743" y="1856"/>
                  <a:pt x="4741" y="1506"/>
                </a:cubicBezTo>
                <a:cubicBezTo>
                  <a:pt x="5184" y="1543"/>
                  <a:pt x="5285" y="2106"/>
                  <a:pt x="5819" y="2312"/>
                </a:cubicBezTo>
                <a:cubicBezTo>
                  <a:pt x="5988" y="2382"/>
                  <a:pt x="6169" y="2413"/>
                  <a:pt x="6336" y="2426"/>
                </a:cubicBezTo>
                <a:cubicBezTo>
                  <a:pt x="6245" y="2391"/>
                  <a:pt x="6158" y="2346"/>
                  <a:pt x="6076" y="2292"/>
                </a:cubicBezTo>
                <a:cubicBezTo>
                  <a:pt x="5858" y="2243"/>
                  <a:pt x="5737" y="2200"/>
                  <a:pt x="5732" y="1790"/>
                </a:cubicBezTo>
                <a:cubicBezTo>
                  <a:pt x="6266" y="1807"/>
                  <a:pt x="6287" y="2134"/>
                  <a:pt x="6885" y="2134"/>
                </a:cubicBezTo>
                <a:cubicBezTo>
                  <a:pt x="7071" y="2134"/>
                  <a:pt x="7249" y="2097"/>
                  <a:pt x="7411" y="2031"/>
                </a:cubicBezTo>
                <a:cubicBezTo>
                  <a:pt x="7310" y="2043"/>
                  <a:pt x="7212" y="2044"/>
                  <a:pt x="7084" y="2023"/>
                </a:cubicBezTo>
                <a:cubicBezTo>
                  <a:pt x="6781" y="2069"/>
                  <a:pt x="6661" y="1870"/>
                  <a:pt x="6649" y="1565"/>
                </a:cubicBezTo>
                <a:cubicBezTo>
                  <a:pt x="6966" y="1573"/>
                  <a:pt x="7084" y="1658"/>
                  <a:pt x="7328" y="1658"/>
                </a:cubicBezTo>
                <a:cubicBezTo>
                  <a:pt x="7568" y="1658"/>
                  <a:pt x="7788" y="1505"/>
                  <a:pt x="7918" y="1249"/>
                </a:cubicBezTo>
                <a:lnTo>
                  <a:pt x="7967" y="1152"/>
                </a:lnTo>
                <a:lnTo>
                  <a:pt x="7862" y="1183"/>
                </a:lnTo>
                <a:cubicBezTo>
                  <a:pt x="7585" y="1263"/>
                  <a:pt x="7308" y="1054"/>
                  <a:pt x="7308" y="767"/>
                </a:cubicBezTo>
                <a:cubicBezTo>
                  <a:pt x="7308" y="395"/>
                  <a:pt x="7610" y="93"/>
                  <a:pt x="7982" y="93"/>
                </a:cubicBezTo>
                <a:cubicBezTo>
                  <a:pt x="8353" y="93"/>
                  <a:pt x="8655" y="395"/>
                  <a:pt x="8655" y="767"/>
                </a:cubicBezTo>
                <a:cubicBezTo>
                  <a:pt x="8655" y="1678"/>
                  <a:pt x="7887" y="2431"/>
                  <a:pt x="6900" y="2537"/>
                </a:cubicBezTo>
                <a:lnTo>
                  <a:pt x="7358" y="2537"/>
                </a:lnTo>
                <a:cubicBezTo>
                  <a:pt x="7828" y="2387"/>
                  <a:pt x="8221" y="2089"/>
                  <a:pt x="8468" y="1706"/>
                </a:cubicBezTo>
                <a:lnTo>
                  <a:pt x="8779" y="2537"/>
                </a:lnTo>
                <a:lnTo>
                  <a:pt x="8880" y="2537"/>
                </a:lnTo>
                <a:lnTo>
                  <a:pt x="8531" y="1602"/>
                </a:lnTo>
                <a:cubicBezTo>
                  <a:pt x="8670" y="1350"/>
                  <a:pt x="8749" y="1067"/>
                  <a:pt x="8750" y="767"/>
                </a:cubicBezTo>
                <a:lnTo>
                  <a:pt x="8750" y="767"/>
                </a:lnTo>
                <a:lnTo>
                  <a:pt x="8750" y="766"/>
                </a:lnTo>
                <a:lnTo>
                  <a:pt x="8750" y="766"/>
                </a:lnTo>
                <a:cubicBezTo>
                  <a:pt x="8749" y="343"/>
                  <a:pt x="8405" y="0"/>
                  <a:pt x="7982" y="0"/>
                </a:cubicBezTo>
                <a:cubicBezTo>
                  <a:pt x="7558" y="0"/>
                  <a:pt x="7214" y="343"/>
                  <a:pt x="7214" y="767"/>
                </a:cubicBezTo>
                <a:cubicBezTo>
                  <a:pt x="7214" y="1073"/>
                  <a:pt x="7475" y="1317"/>
                  <a:pt x="7783" y="1293"/>
                </a:cubicBezTo>
                <a:cubicBezTo>
                  <a:pt x="7669" y="1464"/>
                  <a:pt x="7504" y="1564"/>
                  <a:pt x="7328" y="1564"/>
                </a:cubicBezTo>
                <a:cubicBezTo>
                  <a:pt x="7089" y="1564"/>
                  <a:pt x="6965" y="1470"/>
                  <a:pt x="6600" y="1470"/>
                </a:cubicBezTo>
                <a:lnTo>
                  <a:pt x="6553" y="1470"/>
                </a:lnTo>
                <a:lnTo>
                  <a:pt x="6553" y="1517"/>
                </a:lnTo>
                <a:cubicBezTo>
                  <a:pt x="6553" y="1752"/>
                  <a:pt x="6614" y="1929"/>
                  <a:pt x="6728" y="2030"/>
                </a:cubicBezTo>
                <a:cubicBezTo>
                  <a:pt x="6299" y="1976"/>
                  <a:pt x="6239" y="1694"/>
                  <a:pt x="5684" y="1694"/>
                </a:cubicBezTo>
                <a:lnTo>
                  <a:pt x="5637" y="1694"/>
                </a:lnTo>
                <a:lnTo>
                  <a:pt x="5637" y="1742"/>
                </a:lnTo>
                <a:cubicBezTo>
                  <a:pt x="5637" y="1885"/>
                  <a:pt x="5644" y="2029"/>
                  <a:pt x="5695" y="2144"/>
                </a:cubicBezTo>
                <a:cubicBezTo>
                  <a:pt x="5303" y="1896"/>
                  <a:pt x="5177" y="1410"/>
                  <a:pt x="4693" y="1410"/>
                </a:cubicBezTo>
                <a:lnTo>
                  <a:pt x="4646" y="1410"/>
                </a:lnTo>
                <a:lnTo>
                  <a:pt x="4646" y="1457"/>
                </a:lnTo>
                <a:cubicBezTo>
                  <a:pt x="4646" y="1642"/>
                  <a:pt x="4647" y="1873"/>
                  <a:pt x="4777" y="2054"/>
                </a:cubicBezTo>
                <a:cubicBezTo>
                  <a:pt x="4366" y="1899"/>
                  <a:pt x="3892" y="1770"/>
                  <a:pt x="3177" y="1770"/>
                </a:cubicBezTo>
                <a:cubicBezTo>
                  <a:pt x="2252" y="1770"/>
                  <a:pt x="1730" y="1986"/>
                  <a:pt x="1225" y="2195"/>
                </a:cubicBezTo>
                <a:cubicBezTo>
                  <a:pt x="853" y="2348"/>
                  <a:pt x="498" y="2494"/>
                  <a:pt x="0" y="2537"/>
                </a:cubicBezTo>
                <a:lnTo>
                  <a:pt x="551" y="2537"/>
                </a:lnTo>
                <a:close/>
                <a:moveTo>
                  <a:pt x="4950" y="1685"/>
                </a:moveTo>
                <a:lnTo>
                  <a:pt x="4950" y="1685"/>
                </a:lnTo>
                <a:cubicBezTo>
                  <a:pt x="4915" y="1658"/>
                  <a:pt x="4879" y="1638"/>
                  <a:pt x="4839" y="1623"/>
                </a:cubicBezTo>
                <a:cubicBezTo>
                  <a:pt x="4841" y="1641"/>
                  <a:pt x="4842" y="1658"/>
                  <a:pt x="4844" y="1675"/>
                </a:cubicBezTo>
                <a:cubicBezTo>
                  <a:pt x="4906" y="1825"/>
                  <a:pt x="4997" y="1958"/>
                  <a:pt x="5110" y="2072"/>
                </a:cubicBezTo>
                <a:cubicBezTo>
                  <a:pt x="5128" y="2079"/>
                  <a:pt x="5148" y="2087"/>
                  <a:pt x="5166" y="2095"/>
                </a:cubicBezTo>
                <a:cubicBezTo>
                  <a:pt x="5255" y="2131"/>
                  <a:pt x="5343" y="2168"/>
                  <a:pt x="5432" y="2202"/>
                </a:cubicBezTo>
                <a:cubicBezTo>
                  <a:pt x="5223" y="2082"/>
                  <a:pt x="5052" y="1903"/>
                  <a:pt x="4950" y="1685"/>
                </a:cubicBezTo>
                <a:close/>
                <a:moveTo>
                  <a:pt x="6017" y="1963"/>
                </a:moveTo>
                <a:lnTo>
                  <a:pt x="6017" y="1963"/>
                </a:lnTo>
                <a:cubicBezTo>
                  <a:pt x="6008" y="1955"/>
                  <a:pt x="5995" y="1942"/>
                  <a:pt x="5981" y="1926"/>
                </a:cubicBezTo>
                <a:cubicBezTo>
                  <a:pt x="5936" y="1912"/>
                  <a:pt x="5888" y="1900"/>
                  <a:pt x="5831" y="1893"/>
                </a:cubicBezTo>
                <a:cubicBezTo>
                  <a:pt x="5831" y="1893"/>
                  <a:pt x="5831" y="1894"/>
                  <a:pt x="5831" y="1894"/>
                </a:cubicBezTo>
                <a:cubicBezTo>
                  <a:pt x="5882" y="1965"/>
                  <a:pt x="5942" y="2022"/>
                  <a:pt x="5952" y="2032"/>
                </a:cubicBezTo>
                <a:cubicBezTo>
                  <a:pt x="6348" y="2409"/>
                  <a:pt x="6915" y="2499"/>
                  <a:pt x="7471" y="2260"/>
                </a:cubicBezTo>
                <a:cubicBezTo>
                  <a:pt x="8092" y="1994"/>
                  <a:pt x="8509" y="1394"/>
                  <a:pt x="8509" y="766"/>
                </a:cubicBezTo>
                <a:cubicBezTo>
                  <a:pt x="8509" y="476"/>
                  <a:pt x="8273" y="239"/>
                  <a:pt x="7982" y="239"/>
                </a:cubicBezTo>
                <a:cubicBezTo>
                  <a:pt x="7691" y="239"/>
                  <a:pt x="7454" y="476"/>
                  <a:pt x="7454" y="767"/>
                </a:cubicBezTo>
                <a:cubicBezTo>
                  <a:pt x="7454" y="925"/>
                  <a:pt x="7583" y="1054"/>
                  <a:pt x="7741" y="1054"/>
                </a:cubicBezTo>
                <a:cubicBezTo>
                  <a:pt x="7900" y="1054"/>
                  <a:pt x="8029" y="925"/>
                  <a:pt x="8029" y="767"/>
                </a:cubicBezTo>
                <a:lnTo>
                  <a:pt x="8029" y="719"/>
                </a:lnTo>
                <a:lnTo>
                  <a:pt x="7934" y="719"/>
                </a:lnTo>
                <a:lnTo>
                  <a:pt x="7934" y="767"/>
                </a:lnTo>
                <a:cubicBezTo>
                  <a:pt x="7934" y="873"/>
                  <a:pt x="7848" y="959"/>
                  <a:pt x="7741" y="959"/>
                </a:cubicBezTo>
                <a:cubicBezTo>
                  <a:pt x="7635" y="959"/>
                  <a:pt x="7548" y="873"/>
                  <a:pt x="7548" y="767"/>
                </a:cubicBezTo>
                <a:cubicBezTo>
                  <a:pt x="7548" y="528"/>
                  <a:pt x="7743" y="333"/>
                  <a:pt x="7982" y="333"/>
                </a:cubicBezTo>
                <a:cubicBezTo>
                  <a:pt x="8220" y="333"/>
                  <a:pt x="8415" y="528"/>
                  <a:pt x="8415" y="767"/>
                </a:cubicBezTo>
                <a:cubicBezTo>
                  <a:pt x="8415" y="1356"/>
                  <a:pt x="8021" y="1922"/>
                  <a:pt x="7434" y="2173"/>
                </a:cubicBezTo>
                <a:cubicBezTo>
                  <a:pt x="6918" y="2395"/>
                  <a:pt x="6389" y="2316"/>
                  <a:pt x="6017" y="1963"/>
                </a:cubicBezTo>
                <a:close/>
                <a:moveTo>
                  <a:pt x="7767" y="1646"/>
                </a:moveTo>
                <a:lnTo>
                  <a:pt x="7767" y="1646"/>
                </a:lnTo>
                <a:cubicBezTo>
                  <a:pt x="7417" y="1903"/>
                  <a:pt x="6998" y="1798"/>
                  <a:pt x="6788" y="1670"/>
                </a:cubicBezTo>
                <a:cubicBezTo>
                  <a:pt x="6776" y="1669"/>
                  <a:pt x="6765" y="1667"/>
                  <a:pt x="6753" y="1666"/>
                </a:cubicBezTo>
                <a:cubicBezTo>
                  <a:pt x="6760" y="1707"/>
                  <a:pt x="6769" y="1743"/>
                  <a:pt x="6782" y="1775"/>
                </a:cubicBezTo>
                <a:cubicBezTo>
                  <a:pt x="7085" y="1938"/>
                  <a:pt x="7503" y="1957"/>
                  <a:pt x="7823" y="1723"/>
                </a:cubicBezTo>
                <a:cubicBezTo>
                  <a:pt x="8102" y="1518"/>
                  <a:pt x="8269" y="1160"/>
                  <a:pt x="8269" y="767"/>
                </a:cubicBezTo>
                <a:cubicBezTo>
                  <a:pt x="8269" y="608"/>
                  <a:pt x="8140" y="479"/>
                  <a:pt x="7982" y="479"/>
                </a:cubicBezTo>
                <a:cubicBezTo>
                  <a:pt x="7823" y="479"/>
                  <a:pt x="7694" y="608"/>
                  <a:pt x="7694" y="767"/>
                </a:cubicBezTo>
                <a:lnTo>
                  <a:pt x="7694" y="814"/>
                </a:lnTo>
                <a:lnTo>
                  <a:pt x="7789" y="814"/>
                </a:lnTo>
                <a:lnTo>
                  <a:pt x="7789" y="767"/>
                </a:lnTo>
                <a:cubicBezTo>
                  <a:pt x="7789" y="660"/>
                  <a:pt x="7875" y="574"/>
                  <a:pt x="7982" y="574"/>
                </a:cubicBezTo>
                <a:cubicBezTo>
                  <a:pt x="8088" y="574"/>
                  <a:pt x="8174" y="660"/>
                  <a:pt x="8174" y="767"/>
                </a:cubicBezTo>
                <a:cubicBezTo>
                  <a:pt x="8174" y="1130"/>
                  <a:pt x="8022" y="1459"/>
                  <a:pt x="7767" y="1646"/>
                </a:cubicBezTo>
                <a:close/>
                <a:moveTo>
                  <a:pt x="1668" y="2537"/>
                </a:moveTo>
                <a:lnTo>
                  <a:pt x="1668" y="2537"/>
                </a:lnTo>
                <a:lnTo>
                  <a:pt x="1950" y="2537"/>
                </a:lnTo>
                <a:cubicBezTo>
                  <a:pt x="2282" y="2429"/>
                  <a:pt x="2664" y="2349"/>
                  <a:pt x="3177" y="2349"/>
                </a:cubicBezTo>
                <a:cubicBezTo>
                  <a:pt x="3690" y="2349"/>
                  <a:pt x="4072" y="2429"/>
                  <a:pt x="4404" y="2537"/>
                </a:cubicBezTo>
                <a:lnTo>
                  <a:pt x="4686" y="2537"/>
                </a:lnTo>
                <a:cubicBezTo>
                  <a:pt x="4288" y="2384"/>
                  <a:pt x="3842" y="2254"/>
                  <a:pt x="3177" y="2254"/>
                </a:cubicBezTo>
                <a:cubicBezTo>
                  <a:pt x="2512" y="2254"/>
                  <a:pt x="2067" y="2384"/>
                  <a:pt x="1668" y="2537"/>
                </a:cubicBezTo>
                <a:close/>
                <a:moveTo>
                  <a:pt x="8317" y="2129"/>
                </a:moveTo>
                <a:lnTo>
                  <a:pt x="8317" y="2129"/>
                </a:lnTo>
                <a:lnTo>
                  <a:pt x="8485" y="2537"/>
                </a:lnTo>
                <a:lnTo>
                  <a:pt x="8383" y="2537"/>
                </a:lnTo>
                <a:lnTo>
                  <a:pt x="8281" y="2291"/>
                </a:lnTo>
                <a:cubicBezTo>
                  <a:pt x="8177" y="2384"/>
                  <a:pt x="8065" y="2466"/>
                  <a:pt x="7946" y="2537"/>
                </a:cubicBezTo>
                <a:lnTo>
                  <a:pt x="7748" y="2537"/>
                </a:lnTo>
                <a:cubicBezTo>
                  <a:pt x="7947" y="2434"/>
                  <a:pt x="8137" y="2298"/>
                  <a:pt x="8317" y="2129"/>
                </a:cubicBezTo>
                <a:close/>
              </a:path>
            </a:pathLst>
          </a:custGeom>
          <a:solidFill>
            <a:srgbClr val="006FCF"/>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 name="Title 1">
            <a:extLst>
              <a:ext uri="{FF2B5EF4-FFF2-40B4-BE49-F238E27FC236}">
                <a16:creationId xmlns:a16="http://schemas.microsoft.com/office/drawing/2014/main" id="{50953EBE-000A-4847-AECD-FAA20C0B0545}"/>
              </a:ext>
            </a:extLst>
          </p:cNvPr>
          <p:cNvSpPr txBox="1">
            <a:spLocks/>
          </p:cNvSpPr>
          <p:nvPr userDrawn="1"/>
        </p:nvSpPr>
        <p:spPr>
          <a:xfrm>
            <a:off x="609601" y="1654041"/>
            <a:ext cx="5304367" cy="727388"/>
          </a:xfrm>
          <a:prstGeom prst="rect">
            <a:avLst/>
          </a:prstGeom>
          <a:noFill/>
        </p:spPr>
        <p:txBody>
          <a:bodyPr vert="horz" lIns="0" tIns="0" rIns="0" bIns="0" rtlCol="0" anchor="t" anchorCtr="0">
            <a:noAutofit/>
          </a:bodyPr>
          <a:lstStyle>
            <a:lvl1pPr algn="l" defTabSz="685800" rtl="0" eaLnBrk="1" latinLnBrk="0" hangingPunct="1">
              <a:lnSpc>
                <a:spcPct val="90000"/>
              </a:lnSpc>
              <a:spcBef>
                <a:spcPct val="0"/>
              </a:spcBef>
              <a:buNone/>
              <a:defRPr sz="2400" kern="1200" spc="-40" baseline="0">
                <a:solidFill>
                  <a:schemeClr val="bg2"/>
                </a:solidFill>
                <a:latin typeface="+mj-lt"/>
                <a:ea typeface="+mj-ea"/>
                <a:cs typeface="+mj-cs"/>
              </a:defRPr>
            </a:lvl1pPr>
          </a:lstStyle>
          <a:p>
            <a:r>
              <a:rPr lang="en-US" sz="4267" spc="-80" baseline="0">
                <a:solidFill>
                  <a:schemeClr val="bg1"/>
                </a:solidFill>
              </a:rPr>
              <a:t>Thank you</a:t>
            </a:r>
          </a:p>
        </p:txBody>
      </p:sp>
      <p:pic>
        <p:nvPicPr>
          <p:cNvPr id="6" name="Picture 5">
            <a:extLst>
              <a:ext uri="{FF2B5EF4-FFF2-40B4-BE49-F238E27FC236}">
                <a16:creationId xmlns:a16="http://schemas.microsoft.com/office/drawing/2014/main" id="{172D7505-3A56-974B-9FD0-1C9DD6BE92F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59087" y="6042360"/>
            <a:ext cx="2670048" cy="463907"/>
          </a:xfrm>
          <a:prstGeom prst="rect">
            <a:avLst/>
          </a:prstGeom>
        </p:spPr>
      </p:pic>
      <p:pic>
        <p:nvPicPr>
          <p:cNvPr id="7" name="Picture 6">
            <a:extLst>
              <a:ext uri="{FF2B5EF4-FFF2-40B4-BE49-F238E27FC236}">
                <a16:creationId xmlns:a16="http://schemas.microsoft.com/office/drawing/2014/main" id="{34728244-1361-5F4C-B4B2-6000550B247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9007" y="5907194"/>
            <a:ext cx="734244" cy="734244"/>
          </a:xfrm>
          <a:prstGeom prst="rect">
            <a:avLst/>
          </a:prstGeom>
        </p:spPr>
      </p:pic>
      <p:sp>
        <p:nvSpPr>
          <p:cNvPr id="3" name="Text Placeholder 2">
            <a:extLst>
              <a:ext uri="{FF2B5EF4-FFF2-40B4-BE49-F238E27FC236}">
                <a16:creationId xmlns:a16="http://schemas.microsoft.com/office/drawing/2014/main" id="{725C8422-08BB-9643-8698-4BD671D3326F}"/>
              </a:ext>
            </a:extLst>
          </p:cNvPr>
          <p:cNvSpPr>
            <a:spLocks noGrp="1"/>
          </p:cNvSpPr>
          <p:nvPr>
            <p:ph type="body" sz="quarter" idx="10" hasCustomPrompt="1"/>
          </p:nvPr>
        </p:nvSpPr>
        <p:spPr>
          <a:xfrm>
            <a:off x="609599" y="2552345"/>
            <a:ext cx="5304367" cy="3354843"/>
          </a:xfrm>
        </p:spPr>
        <p:txBody>
          <a:bodyPr>
            <a:normAutofit/>
          </a:bodyPr>
          <a:lstStyle>
            <a:lvl1pPr marL="0" indent="0">
              <a:lnSpc>
                <a:spcPct val="100000"/>
              </a:lnSpc>
              <a:spcBef>
                <a:spcPts val="0"/>
              </a:spcBef>
              <a:buFont typeface="Arial" pitchFamily="34" charset="0"/>
              <a:buNone/>
              <a:defRPr sz="1333">
                <a:solidFill>
                  <a:schemeClr val="bg2"/>
                </a:solidFill>
              </a:defRPr>
            </a:lvl1pPr>
            <a:lvl2pPr marL="0" indent="-228594">
              <a:lnSpc>
                <a:spcPct val="100000"/>
              </a:lnSpc>
              <a:spcBef>
                <a:spcPts val="0"/>
              </a:spcBef>
              <a:buSzPct val="120000"/>
              <a:buFont typeface="Arial" pitchFamily="34" charset="0"/>
              <a:buChar char="▪"/>
              <a:defRPr sz="1333">
                <a:solidFill>
                  <a:schemeClr val="bg2"/>
                </a:solidFill>
              </a:defRPr>
            </a:lvl2pPr>
            <a:lvl3pPr marL="463284">
              <a:lnSpc>
                <a:spcPct val="100000"/>
              </a:lnSpc>
              <a:spcBef>
                <a:spcPts val="0"/>
              </a:spcBef>
              <a:defRPr sz="1333">
                <a:solidFill>
                  <a:schemeClr val="bg2"/>
                </a:solidFill>
              </a:defRPr>
            </a:lvl3pPr>
            <a:lvl4pPr marL="682735">
              <a:lnSpc>
                <a:spcPct val="100000"/>
              </a:lnSpc>
              <a:spcBef>
                <a:spcPts val="0"/>
              </a:spcBef>
              <a:defRPr sz="1333">
                <a:solidFill>
                  <a:schemeClr val="bg2"/>
                </a:solidFill>
              </a:defRPr>
            </a:lvl4pPr>
            <a:lvl5pPr marL="914377">
              <a:lnSpc>
                <a:spcPct val="100000"/>
              </a:lnSpc>
              <a:spcBef>
                <a:spcPts val="0"/>
              </a:spcBef>
              <a:defRPr sz="1333">
                <a:solidFill>
                  <a:schemeClr val="bg2"/>
                </a:solidFill>
              </a:defRPr>
            </a:lvl5pPr>
            <a:lvl6pPr marL="1146019">
              <a:lnSpc>
                <a:spcPct val="100000"/>
              </a:lnSpc>
              <a:spcBef>
                <a:spcPts val="0"/>
              </a:spcBef>
              <a:defRPr sz="1333">
                <a:solidFill>
                  <a:schemeClr val="bg2"/>
                </a:solidFill>
              </a:defRPr>
            </a:lvl6pPr>
            <a:lvl7pPr marL="1365470">
              <a:lnSpc>
                <a:spcPct val="100000"/>
              </a:lnSpc>
              <a:spcBef>
                <a:spcPts val="0"/>
              </a:spcBef>
              <a:defRPr sz="1333">
                <a:solidFill>
                  <a:schemeClr val="bg2"/>
                </a:solidFill>
              </a:defRPr>
            </a:lvl7pPr>
            <a:lvl8pPr marL="1597112">
              <a:lnSpc>
                <a:spcPct val="100000"/>
              </a:lnSpc>
              <a:spcBef>
                <a:spcPts val="0"/>
              </a:spcBef>
              <a:defRPr sz="1333">
                <a:solidFill>
                  <a:schemeClr val="bg2"/>
                </a:solidFill>
              </a:defRPr>
            </a:lvl8pPr>
            <a:lvl9pPr marL="1828754">
              <a:lnSpc>
                <a:spcPct val="100000"/>
              </a:lnSpc>
              <a:spcBef>
                <a:spcPts val="0"/>
              </a:spcBef>
              <a:defRPr sz="1333">
                <a:solidFill>
                  <a:schemeClr val="bg2"/>
                </a:solidFill>
              </a:defRPr>
            </a:lvl9pPr>
          </a:lstStyle>
          <a:p>
            <a:pPr lvl="0"/>
            <a:r>
              <a:rPr lang="en-US"/>
              <a:t>Optional contact information</a:t>
            </a:r>
          </a:p>
        </p:txBody>
      </p:sp>
    </p:spTree>
    <p:extLst>
      <p:ext uri="{BB962C8B-B14F-4D97-AF65-F5344CB8AC3E}">
        <p14:creationId xmlns:p14="http://schemas.microsoft.com/office/powerpoint/2010/main" val="1315309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itle Slide w/o Co-brand">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09934" y="330925"/>
            <a:ext cx="11082068" cy="6237272"/>
          </a:xfrm>
          <a:prstGeom prst="rect">
            <a:avLst/>
          </a:prstGeom>
        </p:spPr>
      </p:pic>
      <p:sp>
        <p:nvSpPr>
          <p:cNvPr id="2" name="Title 1"/>
          <p:cNvSpPr>
            <a:spLocks noGrp="1"/>
          </p:cNvSpPr>
          <p:nvPr>
            <p:ph type="ctrTitle"/>
          </p:nvPr>
        </p:nvSpPr>
        <p:spPr bwMode="white">
          <a:xfrm>
            <a:off x="907664" y="3168612"/>
            <a:ext cx="10599061" cy="599109"/>
          </a:xfrm>
        </p:spPr>
        <p:txBody>
          <a:bodyPr anchor="ctr">
            <a:noAutofit/>
          </a:bodyPr>
          <a:lstStyle>
            <a:lvl1pPr algn="r">
              <a:defRPr sz="3000" b="0" i="0" cap="none">
                <a:solidFill>
                  <a:schemeClr val="accent2"/>
                </a:solidFill>
                <a:latin typeface="Guardian Egyp" charset="0"/>
                <a:ea typeface="Guardian Egyp" charset="0"/>
                <a:cs typeface="Guardian Egyp" charset="0"/>
              </a:defRPr>
            </a:lvl1pPr>
          </a:lstStyle>
          <a:p>
            <a:r>
              <a:rPr lang="en-US"/>
              <a:t>Click to edit Master title style</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524199" y="5765076"/>
            <a:ext cx="3286276" cy="680077"/>
          </a:xfrm>
          <a:prstGeom prst="rect">
            <a:avLst/>
          </a:prstGeom>
        </p:spPr>
      </p:pic>
      <p:sp>
        <p:nvSpPr>
          <p:cNvPr id="14" name="Text Placeholder 4"/>
          <p:cNvSpPr>
            <a:spLocks noGrp="1"/>
          </p:cNvSpPr>
          <p:nvPr>
            <p:ph type="body" sz="quarter" idx="10" hasCustomPrompt="1"/>
          </p:nvPr>
        </p:nvSpPr>
        <p:spPr>
          <a:xfrm>
            <a:off x="908053" y="5469289"/>
            <a:ext cx="3509433" cy="1113367"/>
          </a:xfrm>
        </p:spPr>
        <p:txBody>
          <a:bodyPr anchor="b"/>
          <a:lstStyle>
            <a:lvl1pPr marL="0" indent="0" algn="r" defTabSz="457178" rtl="0" eaLnBrk="1" fontAlgn="base" hangingPunct="1">
              <a:lnSpc>
                <a:spcPct val="100000"/>
              </a:lnSpc>
              <a:spcBef>
                <a:spcPts val="1600"/>
              </a:spcBef>
              <a:spcAft>
                <a:spcPts val="0"/>
              </a:spcAft>
              <a:buFont typeface="Arial" charset="0"/>
              <a:buNone/>
              <a:defRPr lang="en-US" sz="1333" b="0" i="0" kern="1200" spc="100" baseline="0">
                <a:solidFill>
                  <a:schemeClr val="bg2"/>
                </a:solidFill>
                <a:latin typeface="BentonSans Book" charset="0"/>
                <a:ea typeface="BentonSans Book" charset="0"/>
                <a:cs typeface="BentonSans Book" charset="0"/>
              </a:defRPr>
            </a:lvl1pPr>
            <a:lvl2pPr marL="0" indent="0" algn="r" defTabSz="457178" rtl="0" eaLnBrk="1" fontAlgn="base" hangingPunct="1">
              <a:lnSpc>
                <a:spcPct val="100000"/>
              </a:lnSpc>
              <a:spcBef>
                <a:spcPts val="1600"/>
              </a:spcBef>
              <a:spcAft>
                <a:spcPts val="0"/>
              </a:spcAft>
              <a:buFont typeface="Arial" charset="0"/>
              <a:buNone/>
              <a:defRPr lang="en-US" sz="1333" b="0" i="0" kern="1200" spc="100" baseline="0">
                <a:solidFill>
                  <a:schemeClr val="bg2"/>
                </a:solidFill>
                <a:latin typeface="BentonSans Book" charset="0"/>
                <a:ea typeface="BentonSans Book" charset="0"/>
                <a:cs typeface="BentonSans Book" charset="0"/>
              </a:defRPr>
            </a:lvl2pPr>
            <a:lvl3pPr marL="0" indent="0" algn="r" defTabSz="457178" rtl="0" eaLnBrk="1" fontAlgn="base" hangingPunct="1">
              <a:lnSpc>
                <a:spcPct val="85000"/>
              </a:lnSpc>
              <a:spcBef>
                <a:spcPts val="0"/>
              </a:spcBef>
              <a:spcAft>
                <a:spcPts val="1600"/>
              </a:spcAft>
              <a:buFont typeface="Arial" charset="0"/>
              <a:buNone/>
              <a:defRPr lang="en-US" sz="1000" b="0" i="0" kern="1200" spc="100" baseline="0">
                <a:solidFill>
                  <a:schemeClr val="bg1"/>
                </a:solidFill>
                <a:latin typeface="BentonSans Medium" charset="0"/>
                <a:ea typeface="BentonSans Medium" charset="0"/>
                <a:cs typeface="BentonSans Medium" charset="0"/>
              </a:defRPr>
            </a:lvl3pPr>
            <a:lvl4pPr marL="0" indent="0" algn="r" defTabSz="457178" rtl="0" eaLnBrk="1" fontAlgn="base" hangingPunct="1">
              <a:lnSpc>
                <a:spcPct val="85000"/>
              </a:lnSpc>
              <a:spcBef>
                <a:spcPts val="0"/>
              </a:spcBef>
              <a:spcAft>
                <a:spcPts val="1600"/>
              </a:spcAft>
              <a:buFont typeface="Arial" charset="0"/>
              <a:buNone/>
              <a:defRPr lang="en-US" sz="1000" b="0" i="0" kern="1200" spc="100" baseline="0">
                <a:solidFill>
                  <a:schemeClr val="bg1"/>
                </a:solidFill>
                <a:latin typeface="BentonSans Medium" charset="0"/>
                <a:ea typeface="BentonSans Medium" charset="0"/>
                <a:cs typeface="BentonSans Medium" charset="0"/>
              </a:defRPr>
            </a:lvl4pPr>
            <a:lvl5pPr marL="0" indent="0" algn="r" defTabSz="457178" rtl="0" eaLnBrk="1" fontAlgn="base" hangingPunct="1">
              <a:lnSpc>
                <a:spcPct val="85000"/>
              </a:lnSpc>
              <a:spcBef>
                <a:spcPts val="0"/>
              </a:spcBef>
              <a:spcAft>
                <a:spcPts val="1600"/>
              </a:spcAft>
              <a:buFont typeface="Arial" charset="0"/>
              <a:buNone/>
              <a:defRPr lang="en-US" sz="1000" b="0" i="0" kern="1200" spc="100" baseline="0">
                <a:solidFill>
                  <a:schemeClr val="bg1"/>
                </a:solidFill>
                <a:latin typeface="BentonSans Medium" charset="0"/>
                <a:ea typeface="BentonSans Medium" charset="0"/>
                <a:cs typeface="BentonSans Medium" charset="0"/>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08711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itle Slide w/o Co-brand">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biLevel thresh="25000"/>
            <a:extLst>
              <a:ext uri="{28A0092B-C50C-407E-A947-70E740481C1C}">
                <a14:useLocalDpi xmlns:a14="http://schemas.microsoft.com/office/drawing/2010/main"/>
              </a:ext>
            </a:extLst>
          </a:blip>
          <a:srcRect/>
          <a:stretch/>
        </p:blipFill>
        <p:spPr>
          <a:xfrm>
            <a:off x="1109934" y="330925"/>
            <a:ext cx="11082068" cy="6237272"/>
          </a:xfrm>
          <a:prstGeom prst="rect">
            <a:avLst/>
          </a:prstGeom>
        </p:spPr>
      </p:pic>
      <p:sp>
        <p:nvSpPr>
          <p:cNvPr id="2" name="Title 1"/>
          <p:cNvSpPr>
            <a:spLocks noGrp="1"/>
          </p:cNvSpPr>
          <p:nvPr>
            <p:ph type="ctrTitle"/>
          </p:nvPr>
        </p:nvSpPr>
        <p:spPr bwMode="white">
          <a:xfrm>
            <a:off x="907664" y="3168612"/>
            <a:ext cx="10599061" cy="599109"/>
          </a:xfrm>
        </p:spPr>
        <p:txBody>
          <a:bodyPr anchor="ctr">
            <a:noAutofit/>
          </a:bodyPr>
          <a:lstStyle>
            <a:lvl1pPr algn="r">
              <a:defRPr sz="3000" b="0" i="0" cap="none">
                <a:solidFill>
                  <a:schemeClr val="bg1"/>
                </a:solidFill>
                <a:latin typeface="Guardian Egyp" charset="0"/>
                <a:ea typeface="Guardian Egyp" charset="0"/>
                <a:cs typeface="Guardian Egyp" charset="0"/>
              </a:defRPr>
            </a:lvl1pPr>
          </a:lstStyle>
          <a:p>
            <a:r>
              <a:rPr lang="en-US"/>
              <a:t>Click to edit Master title style</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524199" y="5765076"/>
            <a:ext cx="3286276" cy="680077"/>
          </a:xfrm>
          <a:prstGeom prst="rect">
            <a:avLst/>
          </a:prstGeom>
        </p:spPr>
      </p:pic>
      <p:sp>
        <p:nvSpPr>
          <p:cNvPr id="5" name="Text Placeholder 4"/>
          <p:cNvSpPr>
            <a:spLocks noGrp="1"/>
          </p:cNvSpPr>
          <p:nvPr>
            <p:ph type="body" sz="quarter" idx="10" hasCustomPrompt="1"/>
          </p:nvPr>
        </p:nvSpPr>
        <p:spPr>
          <a:xfrm>
            <a:off x="908053" y="5469289"/>
            <a:ext cx="3509433" cy="1113367"/>
          </a:xfrm>
        </p:spPr>
        <p:txBody>
          <a:bodyPr anchor="b"/>
          <a:lstStyle>
            <a:lvl1pPr marL="0" indent="0" algn="r" defTabSz="457178" rtl="0" eaLnBrk="1" fontAlgn="base" hangingPunct="1">
              <a:lnSpc>
                <a:spcPct val="100000"/>
              </a:lnSpc>
              <a:spcBef>
                <a:spcPts val="1600"/>
              </a:spcBef>
              <a:spcAft>
                <a:spcPts val="0"/>
              </a:spcAft>
              <a:buFont typeface="Arial" charset="0"/>
              <a:buNone/>
              <a:defRPr lang="en-US" sz="1333" b="0" i="0" kern="1200" spc="100" baseline="0">
                <a:solidFill>
                  <a:schemeClr val="bg1"/>
                </a:solidFill>
                <a:latin typeface="BentonSans Book" charset="0"/>
                <a:ea typeface="BentonSans Book" charset="0"/>
                <a:cs typeface="BentonSans Book" charset="0"/>
              </a:defRPr>
            </a:lvl1pPr>
            <a:lvl2pPr marL="0" indent="0" algn="r" defTabSz="457178" rtl="0" eaLnBrk="1" fontAlgn="base" hangingPunct="1">
              <a:lnSpc>
                <a:spcPct val="100000"/>
              </a:lnSpc>
              <a:spcBef>
                <a:spcPts val="1600"/>
              </a:spcBef>
              <a:spcAft>
                <a:spcPts val="0"/>
              </a:spcAft>
              <a:buFont typeface="Arial" charset="0"/>
              <a:buNone/>
              <a:defRPr lang="en-US" sz="1333" b="0" i="0" kern="1200" spc="100" baseline="0">
                <a:solidFill>
                  <a:schemeClr val="bg1"/>
                </a:solidFill>
                <a:latin typeface="BentonSans Book" charset="0"/>
                <a:ea typeface="BentonSans Book" charset="0"/>
                <a:cs typeface="BentonSans Book" charset="0"/>
              </a:defRPr>
            </a:lvl2pPr>
            <a:lvl3pPr marL="0" indent="0" algn="r" defTabSz="457178" rtl="0" eaLnBrk="1" fontAlgn="base" hangingPunct="1">
              <a:lnSpc>
                <a:spcPct val="85000"/>
              </a:lnSpc>
              <a:spcBef>
                <a:spcPts val="0"/>
              </a:spcBef>
              <a:spcAft>
                <a:spcPts val="1600"/>
              </a:spcAft>
              <a:buFont typeface="Arial" charset="0"/>
              <a:buNone/>
              <a:defRPr lang="en-US" sz="1000" b="0" i="0" kern="1200" spc="100" baseline="0">
                <a:solidFill>
                  <a:schemeClr val="bg1"/>
                </a:solidFill>
                <a:latin typeface="BentonSans Medium" charset="0"/>
                <a:ea typeface="BentonSans Medium" charset="0"/>
                <a:cs typeface="BentonSans Medium" charset="0"/>
              </a:defRPr>
            </a:lvl3pPr>
            <a:lvl4pPr marL="0" indent="0" algn="r" defTabSz="457178" rtl="0" eaLnBrk="1" fontAlgn="base" hangingPunct="1">
              <a:lnSpc>
                <a:spcPct val="85000"/>
              </a:lnSpc>
              <a:spcBef>
                <a:spcPts val="0"/>
              </a:spcBef>
              <a:spcAft>
                <a:spcPts val="1600"/>
              </a:spcAft>
              <a:buFont typeface="Arial" charset="0"/>
              <a:buNone/>
              <a:defRPr lang="en-US" sz="1000" b="0" i="0" kern="1200" spc="100" baseline="0">
                <a:solidFill>
                  <a:schemeClr val="bg1"/>
                </a:solidFill>
                <a:latin typeface="BentonSans Medium" charset="0"/>
                <a:ea typeface="BentonSans Medium" charset="0"/>
                <a:cs typeface="BentonSans Medium" charset="0"/>
              </a:defRPr>
            </a:lvl4pPr>
            <a:lvl5pPr marL="0" indent="0" algn="r" defTabSz="457178" rtl="0" eaLnBrk="1" fontAlgn="base" hangingPunct="1">
              <a:lnSpc>
                <a:spcPct val="85000"/>
              </a:lnSpc>
              <a:spcBef>
                <a:spcPts val="0"/>
              </a:spcBef>
              <a:spcAft>
                <a:spcPts val="1600"/>
              </a:spcAft>
              <a:buFont typeface="Arial" charset="0"/>
              <a:buNone/>
              <a:defRPr lang="en-US" sz="1000" b="0" i="0" kern="1200" spc="100" baseline="0">
                <a:solidFill>
                  <a:schemeClr val="bg1"/>
                </a:solidFill>
                <a:latin typeface="BentonSans Medium" charset="0"/>
                <a:ea typeface="BentonSans Medium" charset="0"/>
                <a:cs typeface="BentonSans Medium" charset="0"/>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32969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529170" y="377481"/>
            <a:ext cx="10319420" cy="996795"/>
          </a:xfrm>
        </p:spPr>
        <p:txBody>
          <a:bodyPr/>
          <a:lstStyle>
            <a:lvl1pPr>
              <a:defRPr sz="3867"/>
            </a:lvl1pPr>
          </a:lstStyle>
          <a:p>
            <a:r>
              <a:rPr lang="en-US"/>
              <a:t>Click to edit Master title style</a:t>
            </a:r>
          </a:p>
        </p:txBody>
      </p:sp>
      <p:sp>
        <p:nvSpPr>
          <p:cNvPr id="3" name="Slide Number Placeholder 2"/>
          <p:cNvSpPr>
            <a:spLocks noGrp="1"/>
          </p:cNvSpPr>
          <p:nvPr>
            <p:ph type="sldNum" sz="quarter" idx="10"/>
          </p:nvPr>
        </p:nvSpPr>
        <p:spPr>
          <a:xfrm>
            <a:off x="10972800" y="6297507"/>
            <a:ext cx="609600" cy="306493"/>
          </a:xfrm>
          <a:prstGeom prst="rect">
            <a:avLst/>
          </a:prstGeom>
        </p:spPr>
        <p:txBody>
          <a:bodyPr/>
          <a:lstStyle/>
          <a:p>
            <a:pPr>
              <a:defRPr/>
            </a:pPr>
            <a:fld id="{920384AA-0A71-E644-AEED-65CD2253F2C8}" type="slidenum">
              <a:rPr lang="en-US" smtClean="0">
                <a:solidFill>
                  <a:srgbClr val="006AD2"/>
                </a:solidFill>
              </a:rPr>
              <a:pPr>
                <a:defRPr/>
              </a:pPr>
              <a:t>‹#›</a:t>
            </a:fld>
            <a:endParaRPr lang="en-US">
              <a:solidFill>
                <a:srgbClr val="006AD2"/>
              </a:solidFill>
            </a:endParaRPr>
          </a:p>
        </p:txBody>
      </p:sp>
      <p:sp>
        <p:nvSpPr>
          <p:cNvPr id="5" name="Text Placeholder 4"/>
          <p:cNvSpPr>
            <a:spLocks noGrp="1"/>
          </p:cNvSpPr>
          <p:nvPr>
            <p:ph type="body" sz="quarter" idx="11"/>
          </p:nvPr>
        </p:nvSpPr>
        <p:spPr>
          <a:xfrm>
            <a:off x="1529168" y="1597025"/>
            <a:ext cx="8161579" cy="331628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rotWithShape="1">
          <a:blip r:embed="rId2" cstate="email">
            <a:alphaModFix amt="89000"/>
            <a:extLst>
              <a:ext uri="{28A0092B-C50C-407E-A947-70E740481C1C}">
                <a14:useLocalDpi xmlns:a14="http://schemas.microsoft.com/office/drawing/2010/main"/>
              </a:ext>
            </a:extLst>
          </a:blip>
          <a:srcRect/>
          <a:stretch/>
        </p:blipFill>
        <p:spPr>
          <a:xfrm>
            <a:off x="1" y="0"/>
            <a:ext cx="1012411" cy="6858000"/>
          </a:xfrm>
          <a:prstGeom prst="rect">
            <a:avLst/>
          </a:prstGeom>
        </p:spPr>
      </p:pic>
    </p:spTree>
    <p:extLst>
      <p:ext uri="{BB962C8B-B14F-4D97-AF65-F5344CB8AC3E}">
        <p14:creationId xmlns:p14="http://schemas.microsoft.com/office/powerpoint/2010/main" val="367905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529170" y="377481"/>
            <a:ext cx="10319420" cy="996795"/>
          </a:xfrm>
        </p:spPr>
        <p:txBody>
          <a:bodyPr/>
          <a:lstStyle>
            <a:lvl1pPr>
              <a:defRPr sz="3867"/>
            </a:lvl1pPr>
          </a:lstStyle>
          <a:p>
            <a:r>
              <a:rPr lang="en-US"/>
              <a:t>Click to edit Master title style</a:t>
            </a:r>
          </a:p>
        </p:txBody>
      </p:sp>
      <p:sp>
        <p:nvSpPr>
          <p:cNvPr id="3" name="Slide Number Placeholder 2"/>
          <p:cNvSpPr>
            <a:spLocks noGrp="1"/>
          </p:cNvSpPr>
          <p:nvPr>
            <p:ph type="sldNum" sz="quarter" idx="10"/>
          </p:nvPr>
        </p:nvSpPr>
        <p:spPr>
          <a:xfrm>
            <a:off x="10972800" y="6297507"/>
            <a:ext cx="609600" cy="306493"/>
          </a:xfrm>
          <a:prstGeom prst="rect">
            <a:avLst/>
          </a:prstGeom>
        </p:spPr>
        <p:txBody>
          <a:bodyPr/>
          <a:lstStyle/>
          <a:p>
            <a:pPr>
              <a:defRPr/>
            </a:pPr>
            <a:fld id="{920384AA-0A71-E644-AEED-65CD2253F2C8}" type="slidenum">
              <a:rPr lang="en-US" smtClean="0">
                <a:solidFill>
                  <a:srgbClr val="006AD2"/>
                </a:solidFill>
              </a:rPr>
              <a:pPr>
                <a:defRPr/>
              </a:pPr>
              <a:t>‹#›</a:t>
            </a:fld>
            <a:endParaRPr lang="en-US">
              <a:solidFill>
                <a:srgbClr val="006AD2"/>
              </a:solidFill>
            </a:endParaRPr>
          </a:p>
        </p:txBody>
      </p:sp>
      <p:sp>
        <p:nvSpPr>
          <p:cNvPr id="5" name="Text Placeholder 4"/>
          <p:cNvSpPr>
            <a:spLocks noGrp="1"/>
          </p:cNvSpPr>
          <p:nvPr>
            <p:ph type="body" sz="quarter" idx="11"/>
          </p:nvPr>
        </p:nvSpPr>
        <p:spPr>
          <a:xfrm>
            <a:off x="1529168" y="1597025"/>
            <a:ext cx="8161579" cy="331628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a:xfrm>
            <a:off x="-1" y="0"/>
            <a:ext cx="1012412"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70" fontAlgn="base">
              <a:spcBef>
                <a:spcPct val="0"/>
              </a:spcBef>
              <a:spcAft>
                <a:spcPct val="0"/>
              </a:spcAft>
            </a:pPr>
            <a:endParaRPr lang="en-US" sz="2400">
              <a:solidFill>
                <a:srgbClr val="FFFFFF"/>
              </a:solidFill>
            </a:endParaRPr>
          </a:p>
        </p:txBody>
      </p:sp>
      <p:pic>
        <p:nvPicPr>
          <p:cNvPr id="7" name="Picture 6"/>
          <p:cNvPicPr>
            <a:picLocks noChangeAspect="1"/>
          </p:cNvPicPr>
          <p:nvPr userDrawn="1"/>
        </p:nvPicPr>
        <p:blipFill rotWithShape="1">
          <a:blip r:embed="rId2" cstate="email">
            <a:alphaModFix amt="89000"/>
            <a:extLst>
              <a:ext uri="{28A0092B-C50C-407E-A947-70E740481C1C}">
                <a14:useLocalDpi xmlns:a14="http://schemas.microsoft.com/office/drawing/2010/main"/>
              </a:ext>
            </a:extLst>
          </a:blip>
          <a:srcRect/>
          <a:stretch/>
        </p:blipFill>
        <p:spPr>
          <a:xfrm>
            <a:off x="1" y="0"/>
            <a:ext cx="1012411" cy="6858000"/>
          </a:xfrm>
          <a:prstGeom prst="rect">
            <a:avLst/>
          </a:prstGeom>
        </p:spPr>
      </p:pic>
    </p:spTree>
    <p:extLst>
      <p:ext uri="{BB962C8B-B14F-4D97-AF65-F5344CB8AC3E}">
        <p14:creationId xmlns:p14="http://schemas.microsoft.com/office/powerpoint/2010/main" val="1574380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One Column with Subtitl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AA6FDF6-B9A7-5F49-B175-D05D851355EE}"/>
              </a:ext>
            </a:extLst>
          </p:cNvPr>
          <p:cNvSpPr>
            <a:spLocks noGrp="1"/>
          </p:cNvSpPr>
          <p:nvPr>
            <p:ph idx="1"/>
          </p:nvPr>
        </p:nvSpPr>
        <p:spPr>
          <a:xfrm>
            <a:off x="609600" y="1645920"/>
            <a:ext cx="10972800" cy="4267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4E88BEA0-B852-C147-BBD3-C95859B2A069}"/>
              </a:ext>
            </a:extLst>
          </p:cNvPr>
          <p:cNvSpPr>
            <a:spLocks noGrp="1"/>
          </p:cNvSpPr>
          <p:nvPr>
            <p:ph type="sldNum" sz="quarter" idx="10"/>
          </p:nvPr>
        </p:nvSpPr>
        <p:spPr>
          <a:xfrm>
            <a:off x="10972800" y="6297507"/>
            <a:ext cx="609600" cy="306493"/>
          </a:xfrm>
          <a:prstGeom prst="rect">
            <a:avLst/>
          </a:prstGeom>
        </p:spPr>
        <p:txBody>
          <a:bodyPr/>
          <a:lstStyle/>
          <a:p>
            <a:fld id="{E59C716A-E560-2D44-8739-72D446B232A5}" type="slidenum">
              <a:rPr lang="en-US" smtClean="0"/>
              <a:pPr/>
              <a:t>‹#›</a:t>
            </a:fld>
            <a:endParaRPr lang="en-US"/>
          </a:p>
        </p:txBody>
      </p:sp>
      <p:sp>
        <p:nvSpPr>
          <p:cNvPr id="5" name="Subtitle 2">
            <a:extLst>
              <a:ext uri="{FF2B5EF4-FFF2-40B4-BE49-F238E27FC236}">
                <a16:creationId xmlns:a16="http://schemas.microsoft.com/office/drawing/2014/main" id="{86AEB0BD-88C3-E14D-9931-51C84CB22D5C}"/>
              </a:ext>
            </a:extLst>
          </p:cNvPr>
          <p:cNvSpPr>
            <a:spLocks noGrp="1"/>
          </p:cNvSpPr>
          <p:nvPr>
            <p:ph type="subTitle" idx="11" hasCustomPrompt="1"/>
          </p:nvPr>
        </p:nvSpPr>
        <p:spPr>
          <a:xfrm>
            <a:off x="609600" y="1094796"/>
            <a:ext cx="10972800" cy="365707"/>
          </a:xfrm>
        </p:spPr>
        <p:txBody>
          <a:bodyPr tIns="18288">
            <a:noAutofit/>
          </a:bodyPr>
          <a:lstStyle>
            <a:lvl1pPr marL="0" indent="0" algn="l">
              <a:lnSpc>
                <a:spcPct val="100000"/>
              </a:lnSpc>
              <a:spcBef>
                <a:spcPts val="0"/>
              </a:spcBef>
              <a:buNone/>
              <a:defRPr sz="1333" cap="all" spc="0" baseline="0">
                <a:solidFill>
                  <a:schemeClr val="tx1"/>
                </a:solidFill>
                <a:latin typeface="+mn-lt"/>
              </a:defRPr>
            </a:lvl1pPr>
            <a:lvl2pPr marL="0" indent="0" algn="l">
              <a:lnSpc>
                <a:spcPct val="100000"/>
              </a:lnSpc>
              <a:spcBef>
                <a:spcPts val="0"/>
              </a:spcBef>
              <a:buNone/>
              <a:defRPr sz="1333" cap="all" spc="0" baseline="0">
                <a:solidFill>
                  <a:schemeClr val="tx1"/>
                </a:solidFill>
                <a:latin typeface="+mn-lt"/>
              </a:defRPr>
            </a:lvl2pPr>
            <a:lvl3pPr marL="0" indent="0" algn="l">
              <a:lnSpc>
                <a:spcPct val="100000"/>
              </a:lnSpc>
              <a:spcBef>
                <a:spcPts val="0"/>
              </a:spcBef>
              <a:buNone/>
              <a:defRPr sz="1333" cap="all" spc="0" baseline="0">
                <a:solidFill>
                  <a:schemeClr val="tx1"/>
                </a:solidFill>
                <a:latin typeface="+mn-lt"/>
              </a:defRPr>
            </a:lvl3pPr>
            <a:lvl4pPr marL="0" indent="0" algn="l">
              <a:lnSpc>
                <a:spcPct val="100000"/>
              </a:lnSpc>
              <a:spcBef>
                <a:spcPts val="0"/>
              </a:spcBef>
              <a:buNone/>
              <a:defRPr sz="1333" cap="all" spc="0" baseline="0">
                <a:solidFill>
                  <a:schemeClr val="tx1"/>
                </a:solidFill>
                <a:latin typeface="+mn-lt"/>
              </a:defRPr>
            </a:lvl4pPr>
            <a:lvl5pPr marL="0" indent="0" algn="l">
              <a:lnSpc>
                <a:spcPct val="100000"/>
              </a:lnSpc>
              <a:spcBef>
                <a:spcPts val="0"/>
              </a:spcBef>
              <a:buNone/>
              <a:defRPr sz="1333" cap="all" spc="0" baseline="0">
                <a:solidFill>
                  <a:schemeClr val="tx1"/>
                </a:solidFill>
                <a:latin typeface="+mn-lt"/>
              </a:defRPr>
            </a:lvl5pPr>
            <a:lvl6pPr marL="0" indent="0" algn="l">
              <a:lnSpc>
                <a:spcPct val="100000"/>
              </a:lnSpc>
              <a:spcBef>
                <a:spcPts val="0"/>
              </a:spcBef>
              <a:buNone/>
              <a:defRPr sz="1333" cap="all" spc="0" baseline="0">
                <a:solidFill>
                  <a:schemeClr val="tx1"/>
                </a:solidFill>
                <a:latin typeface="+mn-lt"/>
              </a:defRPr>
            </a:lvl6pPr>
            <a:lvl7pPr marL="0" indent="0" algn="l">
              <a:lnSpc>
                <a:spcPct val="100000"/>
              </a:lnSpc>
              <a:spcBef>
                <a:spcPts val="0"/>
              </a:spcBef>
              <a:buNone/>
              <a:defRPr sz="1333" cap="all" spc="0" baseline="0">
                <a:solidFill>
                  <a:schemeClr val="tx1"/>
                </a:solidFill>
                <a:latin typeface="+mn-lt"/>
              </a:defRPr>
            </a:lvl7pPr>
            <a:lvl8pPr marL="0" indent="0" algn="l">
              <a:lnSpc>
                <a:spcPct val="100000"/>
              </a:lnSpc>
              <a:spcBef>
                <a:spcPts val="0"/>
              </a:spcBef>
              <a:buNone/>
              <a:defRPr sz="1333" cap="all" spc="0" baseline="0">
                <a:solidFill>
                  <a:schemeClr val="tx1"/>
                </a:solidFill>
                <a:latin typeface="+mn-lt"/>
              </a:defRPr>
            </a:lvl8pPr>
            <a:lvl9pPr marL="0" indent="0" algn="l">
              <a:lnSpc>
                <a:spcPct val="100000"/>
              </a:lnSpc>
              <a:spcBef>
                <a:spcPts val="0"/>
              </a:spcBef>
              <a:buNone/>
              <a:defRPr sz="1333" cap="all" spc="0" baseline="0">
                <a:solidFill>
                  <a:schemeClr val="tx1"/>
                </a:solidFill>
                <a:latin typeface="+mn-lt"/>
              </a:defRPr>
            </a:lvl9pPr>
          </a:lstStyle>
          <a:p>
            <a:r>
              <a:rPr lang="en-US"/>
              <a:t>Slide subtitle</a:t>
            </a:r>
          </a:p>
        </p:txBody>
      </p:sp>
      <p:sp>
        <p:nvSpPr>
          <p:cNvPr id="6" name="Title 5">
            <a:extLst>
              <a:ext uri="{FF2B5EF4-FFF2-40B4-BE49-F238E27FC236}">
                <a16:creationId xmlns:a16="http://schemas.microsoft.com/office/drawing/2014/main" id="{65B5E1D0-AE0A-0143-9707-C1606290568A}"/>
              </a:ext>
            </a:extLst>
          </p:cNvPr>
          <p:cNvSpPr>
            <a:spLocks noGrp="1"/>
          </p:cNvSpPr>
          <p:nvPr>
            <p:ph type="title" hasCustomPrompt="1"/>
          </p:nvPr>
        </p:nvSpPr>
        <p:spPr>
          <a:xfrm>
            <a:off x="609600" y="548641"/>
            <a:ext cx="10972800" cy="546155"/>
          </a:xfrm>
        </p:spPr>
        <p:txBody>
          <a:bodyPr/>
          <a:lstStyle/>
          <a:p>
            <a:r>
              <a:rPr lang="en-US"/>
              <a:t>Slide title</a:t>
            </a:r>
          </a:p>
        </p:txBody>
      </p:sp>
      <p:sp>
        <p:nvSpPr>
          <p:cNvPr id="7" name="Content Placeholder 3">
            <a:extLst>
              <a:ext uri="{FF2B5EF4-FFF2-40B4-BE49-F238E27FC236}">
                <a16:creationId xmlns:a16="http://schemas.microsoft.com/office/drawing/2014/main" id="{01B35398-E1B3-2546-B218-1B4D44A9B68D}"/>
              </a:ext>
            </a:extLst>
          </p:cNvPr>
          <p:cNvSpPr>
            <a:spLocks noGrp="1"/>
          </p:cNvSpPr>
          <p:nvPr>
            <p:ph sz="quarter" idx="12" hasCustomPrompt="1"/>
          </p:nvPr>
        </p:nvSpPr>
        <p:spPr>
          <a:xfrm>
            <a:off x="7518400" y="6450755"/>
            <a:ext cx="1117600" cy="105549"/>
          </a:xfrm>
        </p:spPr>
        <p:txBody>
          <a:bodyPr>
            <a:normAutofit/>
          </a:bodyPr>
          <a:lstStyle>
            <a:lvl1pPr marL="0" indent="0">
              <a:buNone/>
              <a:defRPr sz="667"/>
            </a:lvl1pPr>
          </a:lstStyle>
          <a:p>
            <a:pPr lvl="0"/>
            <a:r>
              <a:rPr lang="en-US"/>
              <a:t>AXP Internal</a:t>
            </a:r>
          </a:p>
        </p:txBody>
      </p:sp>
    </p:spTree>
    <p:extLst>
      <p:ext uri="{BB962C8B-B14F-4D97-AF65-F5344CB8AC3E}">
        <p14:creationId xmlns:p14="http://schemas.microsoft.com/office/powerpoint/2010/main" val="328434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733" b="0" i="0">
                <a:solidFill>
                  <a:srgbClr val="006ECF"/>
                </a:solidFill>
                <a:latin typeface="Georgia"/>
                <a:cs typeface="Georgia"/>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667" b="0" i="0">
                <a:solidFill>
                  <a:srgbClr val="52555A"/>
                </a:solidFill>
                <a:latin typeface="Arial"/>
                <a:cs typeface="Arial"/>
              </a:defRPr>
            </a:lvl1pPr>
          </a:lstStyle>
          <a:p>
            <a:pPr marL="16933" marR="6773">
              <a:spcBef>
                <a:spcPts val="73"/>
              </a:spcBef>
            </a:pPr>
            <a:r>
              <a:rPr lang="en-GB"/>
              <a:t>This</a:t>
            </a:r>
            <a:r>
              <a:rPr lang="en-GB" spc="-7"/>
              <a:t> </a:t>
            </a:r>
            <a:r>
              <a:rPr lang="en-GB" spc="-13"/>
              <a:t>material</a:t>
            </a:r>
            <a:r>
              <a:rPr lang="en-GB" spc="-20"/>
              <a:t> </a:t>
            </a:r>
            <a:r>
              <a:rPr lang="en-GB" spc="-13"/>
              <a:t>contains</a:t>
            </a:r>
            <a:r>
              <a:rPr lang="en-GB" spc="13"/>
              <a:t> </a:t>
            </a:r>
            <a:r>
              <a:rPr lang="en-GB" spc="-13"/>
              <a:t>information</a:t>
            </a:r>
            <a:r>
              <a:rPr lang="en-GB" spc="-33"/>
              <a:t> </a:t>
            </a:r>
            <a:r>
              <a:rPr lang="en-GB"/>
              <a:t>that</a:t>
            </a:r>
            <a:r>
              <a:rPr lang="en-GB" spc="13"/>
              <a:t> </a:t>
            </a:r>
            <a:r>
              <a:rPr lang="en-GB"/>
              <a:t>is</a:t>
            </a:r>
            <a:r>
              <a:rPr lang="en-GB" spc="27"/>
              <a:t> </a:t>
            </a:r>
            <a:r>
              <a:rPr lang="en-GB" spc="-13"/>
              <a:t>proprietary</a:t>
            </a:r>
            <a:r>
              <a:rPr lang="en-GB" spc="-27"/>
              <a:t> </a:t>
            </a:r>
            <a:r>
              <a:rPr lang="en-GB"/>
              <a:t>and</a:t>
            </a:r>
            <a:r>
              <a:rPr lang="en-GB" spc="47"/>
              <a:t> </a:t>
            </a:r>
            <a:r>
              <a:rPr lang="en-GB" spc="-13"/>
              <a:t>confidential</a:t>
            </a:r>
            <a:r>
              <a:rPr lang="en-GB" spc="-40"/>
              <a:t> </a:t>
            </a:r>
            <a:r>
              <a:rPr lang="en-GB"/>
              <a:t>to</a:t>
            </a:r>
            <a:r>
              <a:rPr lang="en-GB" spc="27"/>
              <a:t> </a:t>
            </a:r>
            <a:r>
              <a:rPr lang="en-GB"/>
              <a:t>American</a:t>
            </a:r>
            <a:r>
              <a:rPr lang="en-GB" spc="-20"/>
              <a:t> </a:t>
            </a:r>
            <a:r>
              <a:rPr lang="en-GB" spc="-13"/>
              <a:t>Express.</a:t>
            </a:r>
            <a:r>
              <a:rPr lang="en-GB" spc="33"/>
              <a:t> </a:t>
            </a:r>
            <a:r>
              <a:rPr lang="en-GB"/>
              <a:t>It</a:t>
            </a:r>
            <a:r>
              <a:rPr lang="en-GB" spc="20"/>
              <a:t> </a:t>
            </a:r>
            <a:r>
              <a:rPr lang="en-GB" spc="-13"/>
              <a:t>cannot</a:t>
            </a:r>
            <a:r>
              <a:rPr lang="en-GB" spc="13"/>
              <a:t> </a:t>
            </a:r>
            <a:r>
              <a:rPr lang="en-GB"/>
              <a:t>be</a:t>
            </a:r>
            <a:r>
              <a:rPr lang="en-GB" spc="47"/>
              <a:t> </a:t>
            </a:r>
            <a:r>
              <a:rPr lang="en-GB" spc="-13"/>
              <a:t>shared</a:t>
            </a:r>
            <a:r>
              <a:rPr lang="en-GB" spc="27"/>
              <a:t> </a:t>
            </a:r>
            <a:r>
              <a:rPr lang="en-GB"/>
              <a:t>with</a:t>
            </a:r>
            <a:r>
              <a:rPr lang="en-GB" spc="47"/>
              <a:t> </a:t>
            </a:r>
            <a:r>
              <a:rPr lang="en-GB"/>
              <a:t>third</a:t>
            </a:r>
            <a:r>
              <a:rPr lang="en-GB" spc="-20"/>
              <a:t> </a:t>
            </a:r>
            <a:r>
              <a:rPr lang="en-GB" spc="-13"/>
              <a:t>parties</a:t>
            </a:r>
            <a:r>
              <a:rPr lang="en-GB" spc="13"/>
              <a:t> </a:t>
            </a:r>
            <a:r>
              <a:rPr lang="en-GB" spc="-13"/>
              <a:t>without</a:t>
            </a:r>
            <a:r>
              <a:rPr lang="en-GB" spc="667"/>
              <a:t> </a:t>
            </a:r>
            <a:r>
              <a:rPr lang="en-GB"/>
              <a:t>American</a:t>
            </a:r>
            <a:r>
              <a:rPr lang="en-GB" spc="-67"/>
              <a:t> </a:t>
            </a:r>
            <a:r>
              <a:rPr lang="en-GB" spc="-13"/>
              <a:t>Express’</a:t>
            </a:r>
            <a:r>
              <a:rPr lang="en-GB" spc="20"/>
              <a:t> </a:t>
            </a:r>
            <a:r>
              <a:rPr lang="en-GB" spc="-13"/>
              <a:t>written</a:t>
            </a:r>
            <a:r>
              <a:rPr lang="en-GB"/>
              <a:t> </a:t>
            </a:r>
            <a:r>
              <a:rPr lang="en-GB" spc="-13"/>
              <a:t>consent.</a:t>
            </a:r>
            <a:r>
              <a:rPr lang="en-GB"/>
              <a:t> AMERICAN</a:t>
            </a:r>
            <a:r>
              <a:rPr lang="en-GB" spc="20"/>
              <a:t> </a:t>
            </a:r>
            <a:r>
              <a:rPr lang="en-GB"/>
              <a:t>EXPRESS</a:t>
            </a:r>
            <a:r>
              <a:rPr lang="en-GB" spc="47"/>
              <a:t> </a:t>
            </a:r>
            <a:r>
              <a:rPr lang="en-GB" spc="-13"/>
              <a:t>PROPRIETARY</a:t>
            </a:r>
            <a:r>
              <a:rPr lang="en-GB" spc="7"/>
              <a:t> </a:t>
            </a:r>
            <a:r>
              <a:rPr lang="en-GB"/>
              <a:t>&amp;</a:t>
            </a:r>
            <a:r>
              <a:rPr lang="en-GB" spc="7"/>
              <a:t> </a:t>
            </a:r>
            <a:r>
              <a:rPr lang="en-GB" spc="-13"/>
              <a:t>CONFIDENTIAL.</a:t>
            </a:r>
            <a:r>
              <a:rPr lang="en-GB" spc="-40"/>
              <a:t> </a:t>
            </a:r>
            <a:r>
              <a:rPr lang="en-GB"/>
              <a:t>DO</a:t>
            </a:r>
            <a:r>
              <a:rPr lang="en-GB" spc="13"/>
              <a:t> </a:t>
            </a:r>
            <a:r>
              <a:rPr lang="en-GB"/>
              <a:t>NOT COPY.</a:t>
            </a:r>
            <a:r>
              <a:rPr lang="en-GB" spc="13"/>
              <a:t> </a:t>
            </a:r>
            <a:r>
              <a:rPr lang="en-GB"/>
              <a:t>DO</a:t>
            </a:r>
            <a:r>
              <a:rPr lang="en-GB" spc="20"/>
              <a:t> </a:t>
            </a:r>
            <a:r>
              <a:rPr lang="en-GB"/>
              <a:t>NOT </a:t>
            </a:r>
            <a:r>
              <a:rPr lang="en-GB" spc="-13"/>
              <a:t>DISTRIBUTE.</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6/2023</a:t>
            </a:fld>
            <a:endParaRPr lang="en-US"/>
          </a:p>
        </p:txBody>
      </p:sp>
      <p:sp>
        <p:nvSpPr>
          <p:cNvPr id="6" name="Holder 6"/>
          <p:cNvSpPr>
            <a:spLocks noGrp="1"/>
          </p:cNvSpPr>
          <p:nvPr>
            <p:ph type="sldNum" sz="quarter" idx="7"/>
          </p:nvPr>
        </p:nvSpPr>
        <p:spPr>
          <a:xfrm>
            <a:off x="10972800" y="6297507"/>
            <a:ext cx="609600" cy="306493"/>
          </a:xfrm>
          <a:prstGeom prst="rect">
            <a:avLst/>
          </a:prstGeom>
        </p:spPr>
        <p:txBody>
          <a:bodyPr lIns="0" tIns="0" rIns="0" bIns="0"/>
          <a:lstStyle>
            <a:lvl1pPr>
              <a:defRPr sz="1600" b="0" i="0">
                <a:solidFill>
                  <a:srgbClr val="006ECF"/>
                </a:solidFill>
                <a:latin typeface="Arial"/>
                <a:cs typeface="Arial"/>
              </a:defRPr>
            </a:lvl1pPr>
          </a:lstStyle>
          <a:p>
            <a:pPr marL="50799">
              <a:lnSpc>
                <a:spcPts val="1900"/>
              </a:lnSpc>
            </a:pPr>
            <a:fld id="{81D60167-4931-47E6-BA6A-407CBD079E47}" type="slidenum">
              <a:rPr lang="en-GB" spc="-33" smtClean="0"/>
              <a:pPr marL="50799">
                <a:lnSpc>
                  <a:spcPts val="1900"/>
                </a:lnSpc>
              </a:pPr>
              <a:t>‹#›</a:t>
            </a:fld>
            <a:endParaRPr lang="en-GB" spc="-33"/>
          </a:p>
        </p:txBody>
      </p:sp>
    </p:spTree>
    <p:extLst>
      <p:ext uri="{BB962C8B-B14F-4D97-AF65-F5344CB8AC3E}">
        <p14:creationId xmlns:p14="http://schemas.microsoft.com/office/powerpoint/2010/main" val="39001941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imple Grid Cover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60808E1-9889-EC4A-B3B0-85BFCEDDD837}"/>
              </a:ext>
            </a:extLst>
          </p:cNvPr>
          <p:cNvSpPr/>
          <p:nvPr userDrawn="1"/>
        </p:nvSpPr>
        <p:spPr>
          <a:xfrm>
            <a:off x="-1172" y="0"/>
            <a:ext cx="6096000" cy="6858000"/>
          </a:xfrm>
          <a:prstGeom prst="rect">
            <a:avLst/>
          </a:prstGeom>
          <a:solidFill>
            <a:srgbClr val="006F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4400" b="0" i="0">
              <a:solidFill>
                <a:schemeClr val="bg1"/>
              </a:solidFill>
              <a:latin typeface="Benton Sans Light" panose="02000404020000020004" pitchFamily="2" charset="77"/>
            </a:endParaRPr>
          </a:p>
        </p:txBody>
      </p:sp>
      <p:pic>
        <p:nvPicPr>
          <p:cNvPr id="16" name="Picture 15" descr="Background pattern&#10;&#10;Description automatically generated">
            <a:extLst>
              <a:ext uri="{FF2B5EF4-FFF2-40B4-BE49-F238E27FC236}">
                <a16:creationId xmlns:a16="http://schemas.microsoft.com/office/drawing/2014/main" id="{B0A496F5-565A-FC41-B52A-C055486058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55798" y="3429000"/>
            <a:ext cx="6149604" cy="3429000"/>
          </a:xfrm>
          <a:prstGeom prst="rect">
            <a:avLst/>
          </a:prstGeom>
        </p:spPr>
      </p:pic>
      <p:sp>
        <p:nvSpPr>
          <p:cNvPr id="19" name="Rectangle 18">
            <a:extLst>
              <a:ext uri="{FF2B5EF4-FFF2-40B4-BE49-F238E27FC236}">
                <a16:creationId xmlns:a16="http://schemas.microsoft.com/office/drawing/2014/main" id="{D1B7DC56-5FCB-534F-A31C-11334A9F8AE2}"/>
              </a:ext>
            </a:extLst>
          </p:cNvPr>
          <p:cNvSpPr/>
          <p:nvPr userDrawn="1"/>
        </p:nvSpPr>
        <p:spPr>
          <a:xfrm>
            <a:off x="6082600" y="1"/>
            <a:ext cx="6109401" cy="3429001"/>
          </a:xfrm>
          <a:prstGeom prst="rect">
            <a:avLst/>
          </a:prstGeom>
          <a:solidFill>
            <a:srgbClr val="0017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4400" b="0" i="0">
              <a:solidFill>
                <a:schemeClr val="bg1"/>
              </a:solidFill>
              <a:latin typeface="Benton Sans Light" panose="02000404020000020004" pitchFamily="2" charset="77"/>
            </a:endParaRPr>
          </a:p>
        </p:txBody>
      </p:sp>
      <p:sp>
        <p:nvSpPr>
          <p:cNvPr id="21" name="Content Placeholder 2">
            <a:extLst>
              <a:ext uri="{FF2B5EF4-FFF2-40B4-BE49-F238E27FC236}">
                <a16:creationId xmlns:a16="http://schemas.microsoft.com/office/drawing/2014/main" id="{FC2EF6B8-FC2D-D24F-BA37-196AAA90EB0F}"/>
              </a:ext>
            </a:extLst>
          </p:cNvPr>
          <p:cNvSpPr>
            <a:spLocks noGrp="1"/>
          </p:cNvSpPr>
          <p:nvPr>
            <p:ph sz="half" idx="1" hasCustomPrompt="1"/>
          </p:nvPr>
        </p:nvSpPr>
        <p:spPr>
          <a:xfrm>
            <a:off x="795372" y="5858157"/>
            <a:ext cx="4475205" cy="308226"/>
          </a:xfrm>
          <a:prstGeom prst="rect">
            <a:avLst/>
          </a:prstGeom>
        </p:spPr>
        <p:txBody>
          <a:bodyPr wrap="square">
            <a:spAutoFit/>
          </a:bodyPr>
          <a:lstStyle>
            <a:lvl1pPr marL="0" indent="0" algn="ctr">
              <a:buNone/>
              <a:defRPr sz="1800" b="0" i="0" spc="300">
                <a:solidFill>
                  <a:srgbClr val="00175A"/>
                </a:solidFill>
                <a:latin typeface="BentonSans Bold" panose="02000503000000020004" pitchFamily="2" charset="0"/>
              </a:defRPr>
            </a:lvl1pPr>
          </a:lstStyle>
          <a:p>
            <a:pPr lvl="0"/>
            <a:r>
              <a:rPr lang="en-US"/>
              <a:t>SUBHEADER OR DATE HERE</a:t>
            </a:r>
          </a:p>
        </p:txBody>
      </p:sp>
      <p:pic>
        <p:nvPicPr>
          <p:cNvPr id="8" name="Picture 7">
            <a:extLst>
              <a:ext uri="{FF2B5EF4-FFF2-40B4-BE49-F238E27FC236}">
                <a16:creationId xmlns:a16="http://schemas.microsoft.com/office/drawing/2014/main" id="{379E3BB7-08CA-B044-87B7-9B0FAE6B61D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286505" y="160548"/>
            <a:ext cx="2789503" cy="516573"/>
          </a:xfrm>
          <a:prstGeom prst="rect">
            <a:avLst/>
          </a:prstGeom>
        </p:spPr>
      </p:pic>
      <p:pic>
        <p:nvPicPr>
          <p:cNvPr id="10" name="Picture 9" descr="Logo&#10;&#10;Description automatically generated">
            <a:extLst>
              <a:ext uri="{FF2B5EF4-FFF2-40B4-BE49-F238E27FC236}">
                <a16:creationId xmlns:a16="http://schemas.microsoft.com/office/drawing/2014/main" id="{DFFC34E3-3C5C-D746-922F-C19B9144248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l="-3248" t="-1230" b="-8226"/>
          <a:stretch/>
        </p:blipFill>
        <p:spPr>
          <a:xfrm>
            <a:off x="4987226" y="2626454"/>
            <a:ext cx="7204775" cy="1701479"/>
          </a:xfrm>
          <a:prstGeom prst="rect">
            <a:avLst/>
          </a:prstGeom>
        </p:spPr>
      </p:pic>
      <p:sp>
        <p:nvSpPr>
          <p:cNvPr id="11" name="Title 1">
            <a:extLst>
              <a:ext uri="{FF2B5EF4-FFF2-40B4-BE49-F238E27FC236}">
                <a16:creationId xmlns:a16="http://schemas.microsoft.com/office/drawing/2014/main" id="{5E246DAA-5087-4042-81A1-E6EEF45B7E7B}"/>
              </a:ext>
            </a:extLst>
          </p:cNvPr>
          <p:cNvSpPr>
            <a:spLocks noGrp="1"/>
          </p:cNvSpPr>
          <p:nvPr>
            <p:ph type="title" hasCustomPrompt="1"/>
          </p:nvPr>
        </p:nvSpPr>
        <p:spPr>
          <a:xfrm>
            <a:off x="795372" y="2151629"/>
            <a:ext cx="4475205" cy="1325563"/>
          </a:xfrm>
          <a:prstGeom prst="rect">
            <a:avLst/>
          </a:prstGeom>
        </p:spPr>
        <p:txBody>
          <a:bodyPr>
            <a:normAutofit/>
          </a:bodyPr>
          <a:lstStyle>
            <a:lvl1pPr algn="ctr">
              <a:defRPr sz="4400">
                <a:solidFill>
                  <a:schemeClr val="bg1"/>
                </a:solidFill>
                <a:latin typeface="+mj-lt"/>
              </a:defRPr>
            </a:lvl1pPr>
          </a:lstStyle>
          <a:p>
            <a:r>
              <a:rPr lang="en-US"/>
              <a:t>Click to add title</a:t>
            </a:r>
          </a:p>
        </p:txBody>
      </p:sp>
    </p:spTree>
    <p:extLst>
      <p:ext uri="{BB962C8B-B14F-4D97-AF65-F5344CB8AC3E}">
        <p14:creationId xmlns:p14="http://schemas.microsoft.com/office/powerpoint/2010/main" val="37890434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867"/>
            </a:lvl1pPr>
          </a:lstStyle>
          <a:p>
            <a:r>
              <a:rPr lang="en-US"/>
              <a:t>Click to edit Master title style</a:t>
            </a:r>
          </a:p>
        </p:txBody>
      </p:sp>
      <p:sp>
        <p:nvSpPr>
          <p:cNvPr id="3" name="Slide Number Placeholder 2"/>
          <p:cNvSpPr>
            <a:spLocks noGrp="1"/>
          </p:cNvSpPr>
          <p:nvPr>
            <p:ph type="sldNum" sz="quarter" idx="10"/>
          </p:nvPr>
        </p:nvSpPr>
        <p:spPr>
          <a:xfrm>
            <a:off x="10972800" y="6297507"/>
            <a:ext cx="609600" cy="306493"/>
          </a:xfrm>
          <a:prstGeom prst="rect">
            <a:avLst/>
          </a:prstGeom>
        </p:spPr>
        <p:txBody>
          <a:bodyPr/>
          <a:lstStyle/>
          <a:p>
            <a:pPr>
              <a:defRPr/>
            </a:pPr>
            <a:fld id="{920384AA-0A71-E644-AEED-65CD2253F2C8}" type="slidenum">
              <a:rPr lang="en-US" smtClean="0"/>
              <a:pPr>
                <a:defRPr/>
              </a:pPr>
              <a:t>‹#›</a:t>
            </a:fld>
            <a:endParaRPr lang="en-US"/>
          </a:p>
        </p:txBody>
      </p:sp>
      <p:sp>
        <p:nvSpPr>
          <p:cNvPr id="5" name="Text Placeholder 4"/>
          <p:cNvSpPr>
            <a:spLocks noGrp="1"/>
          </p:cNvSpPr>
          <p:nvPr>
            <p:ph type="body" sz="quarter" idx="11"/>
          </p:nvPr>
        </p:nvSpPr>
        <p:spPr>
          <a:xfrm>
            <a:off x="516468" y="1597025"/>
            <a:ext cx="8678333" cy="331628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8924964"/>
      </p:ext>
    </p:extLst>
  </p:cSld>
  <p:clrMapOvr>
    <a:masterClrMapping/>
  </p:clrMapOvr>
  <p:transition spd="slow"/>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One Column without Header">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82A3DAE5-1132-435D-ADF6-B1528DE15FB8}"/>
              </a:ext>
            </a:extLst>
          </p:cNvPr>
          <p:cNvSpPr>
            <a:spLocks noGrp="1"/>
          </p:cNvSpPr>
          <p:nvPr>
            <p:ph sz="half" idx="13" hasCustomPrompt="1"/>
          </p:nvPr>
        </p:nvSpPr>
        <p:spPr>
          <a:xfrm>
            <a:off x="600076" y="1620088"/>
            <a:ext cx="10991851" cy="3677083"/>
          </a:xfrm>
          <a:prstGeom prst="rect">
            <a:avLst/>
          </a:prstGeom>
        </p:spPr>
        <p:txBody>
          <a:bodyPr/>
          <a:lstStyle>
            <a:lvl1pPr algn="just">
              <a:buNone/>
              <a:defRPr sz="2000" b="0" i="0" spc="0">
                <a:solidFill>
                  <a:srgbClr val="00175A"/>
                </a:solidFill>
                <a:latin typeface="Benton Sans Book" panose="02000404020000020004" pitchFamily="2" charset="77"/>
              </a:defRPr>
            </a:lvl1pPr>
          </a:lstStyle>
          <a:p>
            <a:pPr lvl="0"/>
            <a:r>
              <a:rPr lang="en-US"/>
              <a:t>Body Copy</a:t>
            </a:r>
          </a:p>
        </p:txBody>
      </p:sp>
      <p:sp>
        <p:nvSpPr>
          <p:cNvPr id="12" name="Slide Number Placeholder 5">
            <a:extLst>
              <a:ext uri="{FF2B5EF4-FFF2-40B4-BE49-F238E27FC236}">
                <a16:creationId xmlns:a16="http://schemas.microsoft.com/office/drawing/2014/main" id="{893DF519-82D6-4089-858F-0A67C3841821}"/>
              </a:ext>
            </a:extLst>
          </p:cNvPr>
          <p:cNvSpPr>
            <a:spLocks noGrp="1"/>
          </p:cNvSpPr>
          <p:nvPr>
            <p:ph type="sldNum" sz="quarter" idx="16"/>
          </p:nvPr>
        </p:nvSpPr>
        <p:spPr>
          <a:xfrm>
            <a:off x="8984673" y="6356351"/>
            <a:ext cx="2743200" cy="365125"/>
          </a:xfrm>
          <a:prstGeom prst="rect">
            <a:avLst/>
          </a:prstGeom>
        </p:spPr>
        <p:txBody>
          <a:bodyPr/>
          <a:lstStyle/>
          <a:p>
            <a:fld id="{E44F6BC6-47B6-4BAC-9007-7AF0AB86E455}" type="slidenum">
              <a:rPr lang="en-GB" smtClean="0"/>
              <a:t>‹#›</a:t>
            </a:fld>
            <a:endParaRPr lang="en-GB"/>
          </a:p>
        </p:txBody>
      </p:sp>
      <p:sp>
        <p:nvSpPr>
          <p:cNvPr id="2" name="Title 1">
            <a:extLst>
              <a:ext uri="{FF2B5EF4-FFF2-40B4-BE49-F238E27FC236}">
                <a16:creationId xmlns:a16="http://schemas.microsoft.com/office/drawing/2014/main" id="{454C057C-E290-4EC4-9F2A-579997BF778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6558590"/>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One Column without Header">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82A3DAE5-1132-435D-ADF6-B1528DE15FB8}"/>
              </a:ext>
            </a:extLst>
          </p:cNvPr>
          <p:cNvSpPr>
            <a:spLocks noGrp="1"/>
          </p:cNvSpPr>
          <p:nvPr>
            <p:ph sz="half" idx="13" hasCustomPrompt="1"/>
          </p:nvPr>
        </p:nvSpPr>
        <p:spPr>
          <a:xfrm>
            <a:off x="600076" y="1413163"/>
            <a:ext cx="10991850" cy="4405745"/>
          </a:xfrm>
          <a:prstGeom prst="rect">
            <a:avLst/>
          </a:prstGeom>
        </p:spPr>
        <p:txBody>
          <a:bodyPr/>
          <a:lstStyle>
            <a:lvl1pPr algn="just">
              <a:buNone/>
              <a:defRPr sz="2000" b="0" i="0" spc="0">
                <a:solidFill>
                  <a:srgbClr val="00175A"/>
                </a:solidFill>
                <a:latin typeface="+mn-lt"/>
              </a:defRPr>
            </a:lvl1pPr>
          </a:lstStyle>
          <a:p>
            <a:pPr lvl="0"/>
            <a:r>
              <a:rPr lang="en-US"/>
              <a:t>Body Copy</a:t>
            </a:r>
          </a:p>
        </p:txBody>
      </p:sp>
      <p:sp>
        <p:nvSpPr>
          <p:cNvPr id="12" name="Slide Number Placeholder 5">
            <a:extLst>
              <a:ext uri="{FF2B5EF4-FFF2-40B4-BE49-F238E27FC236}">
                <a16:creationId xmlns:a16="http://schemas.microsoft.com/office/drawing/2014/main" id="{893DF519-82D6-4089-858F-0A67C3841821}"/>
              </a:ext>
            </a:extLst>
          </p:cNvPr>
          <p:cNvSpPr>
            <a:spLocks noGrp="1"/>
          </p:cNvSpPr>
          <p:nvPr>
            <p:ph type="sldNum" sz="quarter" idx="16"/>
          </p:nvPr>
        </p:nvSpPr>
        <p:spPr>
          <a:xfrm>
            <a:off x="8984673" y="6356350"/>
            <a:ext cx="2743200" cy="365125"/>
          </a:xfrm>
          <a:prstGeom prst="rect">
            <a:avLst/>
          </a:prstGeom>
        </p:spPr>
        <p:txBody>
          <a:bodyPr/>
          <a:lstStyle/>
          <a:p>
            <a:fld id="{98A0C587-F233-4E5E-858E-FB1E8E13E555}" type="slidenum">
              <a:rPr lang="en-US" smtClean="0"/>
              <a:t>‹#›</a:t>
            </a:fld>
            <a:endParaRPr lang="en-US"/>
          </a:p>
        </p:txBody>
      </p:sp>
      <p:sp>
        <p:nvSpPr>
          <p:cNvPr id="2" name="Title 1">
            <a:extLst>
              <a:ext uri="{FF2B5EF4-FFF2-40B4-BE49-F238E27FC236}">
                <a16:creationId xmlns:a16="http://schemas.microsoft.com/office/drawing/2014/main" id="{454C057C-E290-4EC4-9F2A-579997BF778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6389798"/>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Divider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E1C1B6-2F00-5249-B264-D2773FF33247}"/>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0" name="Rectangle 9">
            <a:extLst>
              <a:ext uri="{FF2B5EF4-FFF2-40B4-BE49-F238E27FC236}">
                <a16:creationId xmlns:a16="http://schemas.microsoft.com/office/drawing/2014/main" id="{47455C29-FE6A-0246-8DCF-60439DF8A025}"/>
              </a:ext>
            </a:extLst>
          </p:cNvPr>
          <p:cNvSpPr/>
          <p:nvPr userDrawn="1"/>
        </p:nvSpPr>
        <p:spPr>
          <a:xfrm>
            <a:off x="2" y="1"/>
            <a:ext cx="12015268" cy="6891313"/>
          </a:xfrm>
          <a:prstGeom prst="rect">
            <a:avLst/>
          </a:prstGeom>
          <a:solidFill>
            <a:srgbClr val="0017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867"/>
          </a:p>
        </p:txBody>
      </p:sp>
      <p:pic>
        <p:nvPicPr>
          <p:cNvPr id="12" name="Picture 11" descr="Background pattern&#10;&#10;Description automatically generated">
            <a:extLst>
              <a:ext uri="{FF2B5EF4-FFF2-40B4-BE49-F238E27FC236}">
                <a16:creationId xmlns:a16="http://schemas.microsoft.com/office/drawing/2014/main" id="{FD19BF5A-3A37-F14C-B8C3-7210821E5714}"/>
              </a:ext>
            </a:extLst>
          </p:cNvPr>
          <p:cNvPicPr>
            <a:picLocks noChangeAspect="1"/>
          </p:cNvPicPr>
          <p:nvPr userDrawn="1"/>
        </p:nvPicPr>
        <p:blipFill rotWithShape="1">
          <a:blip r:embed="rId2"/>
          <a:srcRect l="24802"/>
          <a:stretch/>
        </p:blipFill>
        <p:spPr>
          <a:xfrm>
            <a:off x="7010402" y="744"/>
            <a:ext cx="5181599" cy="6890571"/>
          </a:xfrm>
          <a:prstGeom prst="rect">
            <a:avLst/>
          </a:prstGeom>
        </p:spPr>
      </p:pic>
      <p:pic>
        <p:nvPicPr>
          <p:cNvPr id="13" name="Picture 12" descr="Logo&#10;&#10;Description automatically generated">
            <a:extLst>
              <a:ext uri="{FF2B5EF4-FFF2-40B4-BE49-F238E27FC236}">
                <a16:creationId xmlns:a16="http://schemas.microsoft.com/office/drawing/2014/main" id="{CD36C1E8-FC41-184D-BD76-CA14954FCB1B}"/>
              </a:ext>
            </a:extLst>
          </p:cNvPr>
          <p:cNvPicPr>
            <a:picLocks noChangeAspect="1"/>
          </p:cNvPicPr>
          <p:nvPr userDrawn="1"/>
        </p:nvPicPr>
        <p:blipFill rotWithShape="1">
          <a:blip r:embed="rId3"/>
          <a:srcRect r="8250"/>
          <a:stretch/>
        </p:blipFill>
        <p:spPr>
          <a:xfrm>
            <a:off x="3802382" y="3568337"/>
            <a:ext cx="8389620" cy="1879600"/>
          </a:xfrm>
          <a:prstGeom prst="rect">
            <a:avLst/>
          </a:prstGeom>
        </p:spPr>
      </p:pic>
      <p:sp>
        <p:nvSpPr>
          <p:cNvPr id="14" name="Title 2">
            <a:extLst>
              <a:ext uri="{FF2B5EF4-FFF2-40B4-BE49-F238E27FC236}">
                <a16:creationId xmlns:a16="http://schemas.microsoft.com/office/drawing/2014/main" id="{198A9344-AC69-2D4D-B579-83F87AE97EF8}"/>
              </a:ext>
            </a:extLst>
          </p:cNvPr>
          <p:cNvSpPr>
            <a:spLocks noGrp="1"/>
          </p:cNvSpPr>
          <p:nvPr>
            <p:ph type="title" hasCustomPrompt="1"/>
          </p:nvPr>
        </p:nvSpPr>
        <p:spPr>
          <a:xfrm>
            <a:off x="838200" y="1901733"/>
            <a:ext cx="6070600" cy="636195"/>
          </a:xfrm>
          <a:prstGeom prst="rect">
            <a:avLst/>
          </a:prstGeom>
        </p:spPr>
        <p:txBody>
          <a:bodyPr lIns="0">
            <a:noAutofit/>
          </a:bodyPr>
          <a:lstStyle>
            <a:lvl1pPr algn="l">
              <a:defRPr sz="4000" b="1" i="0">
                <a:solidFill>
                  <a:schemeClr val="bg1"/>
                </a:solidFill>
                <a:latin typeface="BentonSans Bold" panose="02000503000000020004" pitchFamily="2" charset="77"/>
              </a:defRPr>
            </a:lvl1pPr>
          </a:lstStyle>
          <a:p>
            <a:r>
              <a:rPr lang="en-US"/>
              <a:t>DIVIDER TITLE</a:t>
            </a:r>
          </a:p>
        </p:txBody>
      </p:sp>
      <p:sp>
        <p:nvSpPr>
          <p:cNvPr id="4" name="Text Placeholder 3">
            <a:extLst>
              <a:ext uri="{FF2B5EF4-FFF2-40B4-BE49-F238E27FC236}">
                <a16:creationId xmlns:a16="http://schemas.microsoft.com/office/drawing/2014/main" id="{32248E58-DDF0-DA4F-8D34-F1CB63C71EDF}"/>
              </a:ext>
            </a:extLst>
          </p:cNvPr>
          <p:cNvSpPr>
            <a:spLocks noGrp="1"/>
          </p:cNvSpPr>
          <p:nvPr>
            <p:ph type="body" sz="quarter" idx="10" hasCustomPrompt="1"/>
          </p:nvPr>
        </p:nvSpPr>
        <p:spPr>
          <a:xfrm>
            <a:off x="838202" y="2629268"/>
            <a:ext cx="6073775" cy="420233"/>
          </a:xfrm>
        </p:spPr>
        <p:txBody>
          <a:bodyPr lIns="0">
            <a:noAutofit/>
          </a:bodyPr>
          <a:lstStyle>
            <a:lvl1pPr marL="0" indent="0">
              <a:buNone/>
              <a:defRPr>
                <a:solidFill>
                  <a:srgbClr val="66A9E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err="1"/>
              <a:t>Subheader</a:t>
            </a:r>
            <a:endParaRPr lang="en-US"/>
          </a:p>
        </p:txBody>
      </p:sp>
    </p:spTree>
    <p:extLst>
      <p:ext uri="{BB962C8B-B14F-4D97-AF65-F5344CB8AC3E}">
        <p14:creationId xmlns:p14="http://schemas.microsoft.com/office/powerpoint/2010/main" val="5465867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1"/>
            <a:ext cx="10363200" cy="328231"/>
          </a:xfrm>
          <a:prstGeom prst="rect">
            <a:avLst/>
          </a:prstGeom>
        </p:spPr>
        <p:txBody>
          <a:bodyPr wrap="square" lIns="0" tIns="0" rIns="0" bIns="0">
            <a:spAutoFit/>
          </a:bodyPr>
          <a:lstStyle>
            <a:lvl1pPr>
              <a:defRPr sz="2133" b="0" i="0">
                <a:solidFill>
                  <a:srgbClr val="52555A"/>
                </a:solidFill>
                <a:latin typeface="BentonSans Regular"/>
                <a:cs typeface="BentonSans Regular"/>
              </a:defRPr>
            </a:lvl1pPr>
          </a:lstStyle>
          <a:p>
            <a:endParaRPr/>
          </a:p>
        </p:txBody>
      </p:sp>
      <p:sp>
        <p:nvSpPr>
          <p:cNvPr id="3" name="Holder 3"/>
          <p:cNvSpPr>
            <a:spLocks noGrp="1"/>
          </p:cNvSpPr>
          <p:nvPr>
            <p:ph type="subTitle" idx="4"/>
          </p:nvPr>
        </p:nvSpPr>
        <p:spPr>
          <a:xfrm>
            <a:off x="1828800" y="3840481"/>
            <a:ext cx="8534400" cy="287323"/>
          </a:xfrm>
          <a:prstGeom prst="rect">
            <a:avLst/>
          </a:prstGeom>
        </p:spPr>
        <p:txBody>
          <a:bodyPr wrap="square" lIns="0" tIns="0" rIns="0" bIns="0">
            <a:spAutoFit/>
          </a:bodyPr>
          <a:lstStyle>
            <a:lvl1pPr>
              <a:defRPr sz="1867" b="0" i="0">
                <a:solidFill>
                  <a:srgbClr val="52555A"/>
                </a:solidFill>
                <a:latin typeface="BentonSans Regular"/>
                <a:cs typeface="BentonSans Regular"/>
              </a:defRPr>
            </a:lvl1pPr>
          </a:lstStyle>
          <a:p>
            <a:endParaRPr/>
          </a:p>
        </p:txBody>
      </p:sp>
      <p:sp>
        <p:nvSpPr>
          <p:cNvPr id="4" name="Holder 4"/>
          <p:cNvSpPr>
            <a:spLocks noGrp="1"/>
          </p:cNvSpPr>
          <p:nvPr>
            <p:ph type="ftr" sz="quarter" idx="5"/>
          </p:nvPr>
        </p:nvSpPr>
        <p:spPr>
          <a:xfrm>
            <a:off x="1766124" y="8485113"/>
            <a:ext cx="7184249" cy="205249"/>
          </a:xfrm>
        </p:spPr>
        <p:txBody>
          <a:bodyPr lIns="0" tIns="0" rIns="0" bIns="0"/>
          <a:lstStyle>
            <a:lvl1pPr>
              <a:defRPr sz="667" b="0" i="0">
                <a:solidFill>
                  <a:srgbClr val="52555A"/>
                </a:solidFill>
                <a:latin typeface="BentonSans Regular"/>
                <a:cs typeface="BentonSans Regular"/>
              </a:defRPr>
            </a:lvl1pPr>
          </a:lstStyle>
          <a:p>
            <a:pPr marL="16933">
              <a:lnSpc>
                <a:spcPts val="793"/>
              </a:lnSpc>
            </a:pPr>
            <a:r>
              <a:rPr lang="en-GB"/>
              <a:t>This</a:t>
            </a:r>
            <a:r>
              <a:rPr lang="en-GB" spc="7"/>
              <a:t> </a:t>
            </a:r>
            <a:r>
              <a:rPr lang="en-GB" spc="-13"/>
              <a:t>material contains information</a:t>
            </a:r>
            <a:r>
              <a:rPr lang="en-GB" spc="27"/>
              <a:t> </a:t>
            </a:r>
            <a:r>
              <a:rPr lang="en-GB"/>
              <a:t>that</a:t>
            </a:r>
            <a:r>
              <a:rPr lang="en-GB" spc="27"/>
              <a:t> </a:t>
            </a:r>
            <a:r>
              <a:rPr lang="en-GB"/>
              <a:t>is</a:t>
            </a:r>
            <a:r>
              <a:rPr lang="en-GB" spc="20"/>
              <a:t> </a:t>
            </a:r>
            <a:r>
              <a:rPr lang="en-GB" spc="-13"/>
              <a:t>proprietary </a:t>
            </a:r>
            <a:r>
              <a:rPr lang="en-GB"/>
              <a:t>and</a:t>
            </a:r>
            <a:r>
              <a:rPr lang="en-GB" spc="40"/>
              <a:t> </a:t>
            </a:r>
            <a:r>
              <a:rPr lang="en-GB" spc="-13"/>
              <a:t>confidential</a:t>
            </a:r>
            <a:r>
              <a:rPr lang="en-GB"/>
              <a:t> to</a:t>
            </a:r>
            <a:r>
              <a:rPr lang="en-GB" spc="27"/>
              <a:t> </a:t>
            </a:r>
            <a:r>
              <a:rPr lang="en-GB" spc="-13"/>
              <a:t>American</a:t>
            </a:r>
            <a:r>
              <a:rPr lang="en-GB" spc="7"/>
              <a:t> </a:t>
            </a:r>
            <a:r>
              <a:rPr lang="en-GB" spc="-13"/>
              <a:t>Express. </a:t>
            </a:r>
            <a:r>
              <a:rPr lang="en-GB"/>
              <a:t>It</a:t>
            </a:r>
            <a:r>
              <a:rPr lang="en-GB" spc="40"/>
              <a:t> </a:t>
            </a:r>
            <a:r>
              <a:rPr lang="en-GB" spc="-13"/>
              <a:t>cannot</a:t>
            </a:r>
            <a:r>
              <a:rPr lang="en-GB" spc="27"/>
              <a:t> </a:t>
            </a:r>
            <a:r>
              <a:rPr lang="en-GB"/>
              <a:t>be</a:t>
            </a:r>
            <a:r>
              <a:rPr lang="en-GB" spc="33"/>
              <a:t> </a:t>
            </a:r>
            <a:r>
              <a:rPr lang="en-GB" spc="-13"/>
              <a:t>shared</a:t>
            </a:r>
            <a:r>
              <a:rPr lang="en-GB" spc="13"/>
              <a:t> </a:t>
            </a:r>
            <a:r>
              <a:rPr lang="en-GB"/>
              <a:t>with</a:t>
            </a:r>
            <a:r>
              <a:rPr lang="en-GB" spc="27"/>
              <a:t> </a:t>
            </a:r>
            <a:r>
              <a:rPr lang="en-GB"/>
              <a:t>third</a:t>
            </a:r>
            <a:r>
              <a:rPr lang="en-GB" spc="13"/>
              <a:t> </a:t>
            </a:r>
            <a:r>
              <a:rPr lang="en-GB"/>
              <a:t>parties</a:t>
            </a:r>
            <a:r>
              <a:rPr lang="en-GB" spc="-7"/>
              <a:t> </a:t>
            </a:r>
            <a:r>
              <a:rPr lang="en-GB" spc="-13"/>
              <a:t>without</a:t>
            </a:r>
          </a:p>
          <a:p>
            <a:pPr marL="16933"/>
            <a:r>
              <a:rPr lang="en-GB" spc="-13"/>
              <a:t>American Express’ </a:t>
            </a:r>
            <a:r>
              <a:rPr lang="en-GB"/>
              <a:t>written </a:t>
            </a:r>
            <a:r>
              <a:rPr lang="en-GB" spc="-13"/>
              <a:t>consent. AMERICAN</a:t>
            </a:r>
            <a:r>
              <a:rPr lang="en-GB" spc="-20"/>
              <a:t> </a:t>
            </a:r>
            <a:r>
              <a:rPr lang="en-GB" spc="-13"/>
              <a:t>EXPRESS PROPRIETARY</a:t>
            </a:r>
            <a:r>
              <a:rPr lang="en-GB" spc="20"/>
              <a:t> </a:t>
            </a:r>
            <a:r>
              <a:rPr lang="en-GB"/>
              <a:t>&amp;</a:t>
            </a:r>
            <a:r>
              <a:rPr lang="en-GB" spc="33"/>
              <a:t> </a:t>
            </a:r>
            <a:r>
              <a:rPr lang="en-GB" spc="-13"/>
              <a:t>CONFIDENTIAL.</a:t>
            </a:r>
            <a:r>
              <a:rPr lang="en-GB" spc="27"/>
              <a:t> </a:t>
            </a:r>
            <a:r>
              <a:rPr lang="en-GB"/>
              <a:t>DO</a:t>
            </a:r>
            <a:r>
              <a:rPr lang="en-GB" spc="53"/>
              <a:t> </a:t>
            </a:r>
            <a:r>
              <a:rPr lang="en-GB"/>
              <a:t>NOT</a:t>
            </a:r>
            <a:r>
              <a:rPr lang="en-GB" spc="53"/>
              <a:t> </a:t>
            </a:r>
            <a:r>
              <a:rPr lang="en-GB" spc="-13"/>
              <a:t>COPY.</a:t>
            </a:r>
            <a:r>
              <a:rPr lang="en-GB" spc="7"/>
              <a:t> </a:t>
            </a:r>
            <a:r>
              <a:rPr lang="en-GB"/>
              <a:t>DO</a:t>
            </a:r>
            <a:r>
              <a:rPr lang="en-GB" spc="47"/>
              <a:t> </a:t>
            </a:r>
            <a:r>
              <a:rPr lang="en-GB"/>
              <a:t>NOT</a:t>
            </a:r>
            <a:r>
              <a:rPr lang="en-GB" spc="60"/>
              <a:t> </a:t>
            </a:r>
            <a:r>
              <a:rPr lang="en-GB" spc="-13"/>
              <a:t>DISTRIBUTE.</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6/2023</a:t>
            </a:fld>
            <a:endParaRPr lang="en-US"/>
          </a:p>
        </p:txBody>
      </p:sp>
      <p:sp>
        <p:nvSpPr>
          <p:cNvPr id="6" name="Holder 6"/>
          <p:cNvSpPr>
            <a:spLocks noGrp="1"/>
          </p:cNvSpPr>
          <p:nvPr>
            <p:ph type="sldNum" sz="quarter" idx="7"/>
          </p:nvPr>
        </p:nvSpPr>
        <p:spPr/>
        <p:txBody>
          <a:bodyPr lIns="0" tIns="0" rIns="0" bIns="0"/>
          <a:lstStyle>
            <a:lvl1pPr>
              <a:defRPr sz="1600" b="0" i="0">
                <a:solidFill>
                  <a:srgbClr val="006ECF"/>
                </a:solidFill>
                <a:latin typeface="BentonSans Regular"/>
                <a:cs typeface="BentonSans Regular"/>
              </a:defRPr>
            </a:lvl1pPr>
          </a:lstStyle>
          <a:p>
            <a:pPr marL="50799">
              <a:lnSpc>
                <a:spcPts val="1713"/>
              </a:lnSpc>
            </a:pPr>
            <a:fld id="{81D60167-4931-47E6-BA6A-407CBD079E47}" type="slidenum">
              <a:rPr lang="en-GB" smtClean="0"/>
              <a:pPr marL="50799">
                <a:lnSpc>
                  <a:spcPts val="1713"/>
                </a:lnSpc>
              </a:pPr>
              <a:t>‹#›</a:t>
            </a:fld>
            <a:endParaRPr lang="en-GB"/>
          </a:p>
        </p:txBody>
      </p:sp>
    </p:spTree>
    <p:extLst>
      <p:ext uri="{BB962C8B-B14F-4D97-AF65-F5344CB8AC3E}">
        <p14:creationId xmlns:p14="http://schemas.microsoft.com/office/powerpoint/2010/main" val="91645419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838540" y="1030392"/>
            <a:ext cx="9716345" cy="328231"/>
          </a:xfrm>
        </p:spPr>
        <p:txBody>
          <a:bodyPr lIns="0" tIns="0" rIns="0" bIns="0"/>
          <a:lstStyle>
            <a:lvl1pPr>
              <a:defRPr sz="2133" b="0" i="0">
                <a:solidFill>
                  <a:srgbClr val="52555A"/>
                </a:solidFill>
                <a:latin typeface="BentonSans Regular"/>
                <a:cs typeface="BentonSans Regular"/>
              </a:defRPr>
            </a:lvl1pPr>
          </a:lstStyle>
          <a:p>
            <a:endParaRPr/>
          </a:p>
        </p:txBody>
      </p:sp>
      <p:sp>
        <p:nvSpPr>
          <p:cNvPr id="3" name="Holder 3"/>
          <p:cNvSpPr>
            <a:spLocks noGrp="1"/>
          </p:cNvSpPr>
          <p:nvPr>
            <p:ph type="body" idx="1"/>
          </p:nvPr>
        </p:nvSpPr>
        <p:spPr>
          <a:xfrm>
            <a:off x="680042" y="1728181"/>
            <a:ext cx="5467772" cy="287323"/>
          </a:xfrm>
        </p:spPr>
        <p:txBody>
          <a:bodyPr lIns="0" tIns="0" rIns="0" bIns="0"/>
          <a:lstStyle>
            <a:lvl1pPr>
              <a:defRPr sz="1867" b="0" i="0">
                <a:solidFill>
                  <a:srgbClr val="52555A"/>
                </a:solidFill>
                <a:latin typeface="BentonSans Regular"/>
                <a:cs typeface="BentonSans Regular"/>
              </a:defRPr>
            </a:lvl1pPr>
          </a:lstStyle>
          <a:p>
            <a:endParaRPr/>
          </a:p>
        </p:txBody>
      </p:sp>
      <p:sp>
        <p:nvSpPr>
          <p:cNvPr id="4" name="Holder 4"/>
          <p:cNvSpPr>
            <a:spLocks noGrp="1"/>
          </p:cNvSpPr>
          <p:nvPr>
            <p:ph type="ftr" sz="quarter" idx="5"/>
          </p:nvPr>
        </p:nvSpPr>
        <p:spPr>
          <a:xfrm>
            <a:off x="1766124" y="8485113"/>
            <a:ext cx="7184249" cy="205249"/>
          </a:xfrm>
        </p:spPr>
        <p:txBody>
          <a:bodyPr lIns="0" tIns="0" rIns="0" bIns="0"/>
          <a:lstStyle>
            <a:lvl1pPr>
              <a:defRPr sz="667" b="0" i="0">
                <a:solidFill>
                  <a:srgbClr val="52555A"/>
                </a:solidFill>
                <a:latin typeface="BentonSans Regular"/>
                <a:cs typeface="BentonSans Regular"/>
              </a:defRPr>
            </a:lvl1pPr>
          </a:lstStyle>
          <a:p>
            <a:pPr marL="16933">
              <a:lnSpc>
                <a:spcPts val="793"/>
              </a:lnSpc>
            </a:pPr>
            <a:r>
              <a:rPr lang="en-GB"/>
              <a:t>This</a:t>
            </a:r>
            <a:r>
              <a:rPr lang="en-GB" spc="7"/>
              <a:t> </a:t>
            </a:r>
            <a:r>
              <a:rPr lang="en-GB" spc="-13"/>
              <a:t>material contains information</a:t>
            </a:r>
            <a:r>
              <a:rPr lang="en-GB" spc="27"/>
              <a:t> </a:t>
            </a:r>
            <a:r>
              <a:rPr lang="en-GB"/>
              <a:t>that</a:t>
            </a:r>
            <a:r>
              <a:rPr lang="en-GB" spc="27"/>
              <a:t> </a:t>
            </a:r>
            <a:r>
              <a:rPr lang="en-GB"/>
              <a:t>is</a:t>
            </a:r>
            <a:r>
              <a:rPr lang="en-GB" spc="20"/>
              <a:t> </a:t>
            </a:r>
            <a:r>
              <a:rPr lang="en-GB" spc="-13"/>
              <a:t>proprietary </a:t>
            </a:r>
            <a:r>
              <a:rPr lang="en-GB"/>
              <a:t>and</a:t>
            </a:r>
            <a:r>
              <a:rPr lang="en-GB" spc="40"/>
              <a:t> </a:t>
            </a:r>
            <a:r>
              <a:rPr lang="en-GB" spc="-13"/>
              <a:t>confidential</a:t>
            </a:r>
            <a:r>
              <a:rPr lang="en-GB"/>
              <a:t> to</a:t>
            </a:r>
            <a:r>
              <a:rPr lang="en-GB" spc="27"/>
              <a:t> </a:t>
            </a:r>
            <a:r>
              <a:rPr lang="en-GB" spc="-13"/>
              <a:t>American</a:t>
            </a:r>
            <a:r>
              <a:rPr lang="en-GB" spc="7"/>
              <a:t> </a:t>
            </a:r>
            <a:r>
              <a:rPr lang="en-GB" spc="-13"/>
              <a:t>Express. </a:t>
            </a:r>
            <a:r>
              <a:rPr lang="en-GB"/>
              <a:t>It</a:t>
            </a:r>
            <a:r>
              <a:rPr lang="en-GB" spc="40"/>
              <a:t> </a:t>
            </a:r>
            <a:r>
              <a:rPr lang="en-GB" spc="-13"/>
              <a:t>cannot</a:t>
            </a:r>
            <a:r>
              <a:rPr lang="en-GB" spc="27"/>
              <a:t> </a:t>
            </a:r>
            <a:r>
              <a:rPr lang="en-GB"/>
              <a:t>be</a:t>
            </a:r>
            <a:r>
              <a:rPr lang="en-GB" spc="33"/>
              <a:t> </a:t>
            </a:r>
            <a:r>
              <a:rPr lang="en-GB" spc="-13"/>
              <a:t>shared</a:t>
            </a:r>
            <a:r>
              <a:rPr lang="en-GB" spc="13"/>
              <a:t> </a:t>
            </a:r>
            <a:r>
              <a:rPr lang="en-GB"/>
              <a:t>with</a:t>
            </a:r>
            <a:r>
              <a:rPr lang="en-GB" spc="27"/>
              <a:t> </a:t>
            </a:r>
            <a:r>
              <a:rPr lang="en-GB"/>
              <a:t>third</a:t>
            </a:r>
            <a:r>
              <a:rPr lang="en-GB" spc="13"/>
              <a:t> </a:t>
            </a:r>
            <a:r>
              <a:rPr lang="en-GB"/>
              <a:t>parties</a:t>
            </a:r>
            <a:r>
              <a:rPr lang="en-GB" spc="-7"/>
              <a:t> </a:t>
            </a:r>
            <a:r>
              <a:rPr lang="en-GB" spc="-13"/>
              <a:t>without</a:t>
            </a:r>
          </a:p>
          <a:p>
            <a:pPr marL="16933"/>
            <a:r>
              <a:rPr lang="en-GB" spc="-13"/>
              <a:t>American Express’ </a:t>
            </a:r>
            <a:r>
              <a:rPr lang="en-GB"/>
              <a:t>written </a:t>
            </a:r>
            <a:r>
              <a:rPr lang="en-GB" spc="-13"/>
              <a:t>consent. AMERICAN</a:t>
            </a:r>
            <a:r>
              <a:rPr lang="en-GB" spc="-20"/>
              <a:t> </a:t>
            </a:r>
            <a:r>
              <a:rPr lang="en-GB" spc="-13"/>
              <a:t>EXPRESS PROPRIETARY</a:t>
            </a:r>
            <a:r>
              <a:rPr lang="en-GB" spc="20"/>
              <a:t> </a:t>
            </a:r>
            <a:r>
              <a:rPr lang="en-GB"/>
              <a:t>&amp;</a:t>
            </a:r>
            <a:r>
              <a:rPr lang="en-GB" spc="33"/>
              <a:t> </a:t>
            </a:r>
            <a:r>
              <a:rPr lang="en-GB" spc="-13"/>
              <a:t>CONFIDENTIAL.</a:t>
            </a:r>
            <a:r>
              <a:rPr lang="en-GB" spc="27"/>
              <a:t> </a:t>
            </a:r>
            <a:r>
              <a:rPr lang="en-GB"/>
              <a:t>DO</a:t>
            </a:r>
            <a:r>
              <a:rPr lang="en-GB" spc="53"/>
              <a:t> </a:t>
            </a:r>
            <a:r>
              <a:rPr lang="en-GB"/>
              <a:t>NOT</a:t>
            </a:r>
            <a:r>
              <a:rPr lang="en-GB" spc="53"/>
              <a:t> </a:t>
            </a:r>
            <a:r>
              <a:rPr lang="en-GB" spc="-13"/>
              <a:t>COPY.</a:t>
            </a:r>
            <a:r>
              <a:rPr lang="en-GB" spc="7"/>
              <a:t> </a:t>
            </a:r>
            <a:r>
              <a:rPr lang="en-GB"/>
              <a:t>DO</a:t>
            </a:r>
            <a:r>
              <a:rPr lang="en-GB" spc="47"/>
              <a:t> </a:t>
            </a:r>
            <a:r>
              <a:rPr lang="en-GB"/>
              <a:t>NOT</a:t>
            </a:r>
            <a:r>
              <a:rPr lang="en-GB" spc="60"/>
              <a:t> </a:t>
            </a:r>
            <a:r>
              <a:rPr lang="en-GB" spc="-13"/>
              <a:t>DISTRIBUTE.</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6/2023</a:t>
            </a:fld>
            <a:endParaRPr lang="en-US"/>
          </a:p>
        </p:txBody>
      </p:sp>
      <p:sp>
        <p:nvSpPr>
          <p:cNvPr id="6" name="Holder 6"/>
          <p:cNvSpPr>
            <a:spLocks noGrp="1"/>
          </p:cNvSpPr>
          <p:nvPr>
            <p:ph type="sldNum" sz="quarter" idx="7"/>
          </p:nvPr>
        </p:nvSpPr>
        <p:spPr/>
        <p:txBody>
          <a:bodyPr lIns="0" tIns="0" rIns="0" bIns="0"/>
          <a:lstStyle>
            <a:lvl1pPr>
              <a:defRPr sz="1600" b="0" i="0">
                <a:solidFill>
                  <a:srgbClr val="006ECF"/>
                </a:solidFill>
                <a:latin typeface="BentonSans Regular"/>
                <a:cs typeface="BentonSans Regular"/>
              </a:defRPr>
            </a:lvl1pPr>
          </a:lstStyle>
          <a:p>
            <a:pPr marL="50799">
              <a:lnSpc>
                <a:spcPts val="1713"/>
              </a:lnSpc>
            </a:pPr>
            <a:fld id="{81D60167-4931-47E6-BA6A-407CBD079E47}" type="slidenum">
              <a:rPr lang="en-GB" smtClean="0"/>
              <a:pPr marL="50799">
                <a:lnSpc>
                  <a:spcPts val="1713"/>
                </a:lnSpc>
              </a:pPr>
              <a:t>‹#›</a:t>
            </a:fld>
            <a:endParaRPr lang="en-GB"/>
          </a:p>
        </p:txBody>
      </p:sp>
    </p:spTree>
    <p:extLst>
      <p:ext uri="{BB962C8B-B14F-4D97-AF65-F5344CB8AC3E}">
        <p14:creationId xmlns:p14="http://schemas.microsoft.com/office/powerpoint/2010/main" val="171642362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38540" y="1030392"/>
            <a:ext cx="9716345" cy="328231"/>
          </a:xfrm>
        </p:spPr>
        <p:txBody>
          <a:bodyPr lIns="0" tIns="0" rIns="0" bIns="0"/>
          <a:lstStyle>
            <a:lvl1pPr>
              <a:defRPr sz="2133" b="0" i="0">
                <a:solidFill>
                  <a:srgbClr val="52555A"/>
                </a:solidFill>
                <a:latin typeface="BentonSans Regular"/>
                <a:cs typeface="BentonSans Regular"/>
              </a:defRPr>
            </a:lvl1pPr>
          </a:lstStyle>
          <a:p>
            <a:endParaRPr/>
          </a:p>
        </p:txBody>
      </p:sp>
      <p:sp>
        <p:nvSpPr>
          <p:cNvPr id="3" name="Holder 3"/>
          <p:cNvSpPr>
            <a:spLocks noGrp="1"/>
          </p:cNvSpPr>
          <p:nvPr>
            <p:ph sz="half" idx="2"/>
          </p:nvPr>
        </p:nvSpPr>
        <p:spPr>
          <a:xfrm>
            <a:off x="609600" y="1577340"/>
            <a:ext cx="5303520" cy="215444"/>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15444"/>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1766124" y="8485113"/>
            <a:ext cx="7184249" cy="205249"/>
          </a:xfrm>
        </p:spPr>
        <p:txBody>
          <a:bodyPr lIns="0" tIns="0" rIns="0" bIns="0"/>
          <a:lstStyle>
            <a:lvl1pPr>
              <a:defRPr sz="667" b="0" i="0">
                <a:solidFill>
                  <a:srgbClr val="52555A"/>
                </a:solidFill>
                <a:latin typeface="BentonSans Regular"/>
                <a:cs typeface="BentonSans Regular"/>
              </a:defRPr>
            </a:lvl1pPr>
          </a:lstStyle>
          <a:p>
            <a:pPr marL="16933">
              <a:lnSpc>
                <a:spcPts val="793"/>
              </a:lnSpc>
            </a:pPr>
            <a:r>
              <a:rPr lang="en-GB"/>
              <a:t>This</a:t>
            </a:r>
            <a:r>
              <a:rPr lang="en-GB" spc="7"/>
              <a:t> </a:t>
            </a:r>
            <a:r>
              <a:rPr lang="en-GB" spc="-13"/>
              <a:t>material contains information</a:t>
            </a:r>
            <a:r>
              <a:rPr lang="en-GB" spc="27"/>
              <a:t> </a:t>
            </a:r>
            <a:r>
              <a:rPr lang="en-GB"/>
              <a:t>that</a:t>
            </a:r>
            <a:r>
              <a:rPr lang="en-GB" spc="27"/>
              <a:t> </a:t>
            </a:r>
            <a:r>
              <a:rPr lang="en-GB"/>
              <a:t>is</a:t>
            </a:r>
            <a:r>
              <a:rPr lang="en-GB" spc="20"/>
              <a:t> </a:t>
            </a:r>
            <a:r>
              <a:rPr lang="en-GB" spc="-13"/>
              <a:t>proprietary </a:t>
            </a:r>
            <a:r>
              <a:rPr lang="en-GB"/>
              <a:t>and</a:t>
            </a:r>
            <a:r>
              <a:rPr lang="en-GB" spc="40"/>
              <a:t> </a:t>
            </a:r>
            <a:r>
              <a:rPr lang="en-GB" spc="-13"/>
              <a:t>confidential</a:t>
            </a:r>
            <a:r>
              <a:rPr lang="en-GB"/>
              <a:t> to</a:t>
            </a:r>
            <a:r>
              <a:rPr lang="en-GB" spc="27"/>
              <a:t> </a:t>
            </a:r>
            <a:r>
              <a:rPr lang="en-GB" spc="-13"/>
              <a:t>American</a:t>
            </a:r>
            <a:r>
              <a:rPr lang="en-GB" spc="7"/>
              <a:t> </a:t>
            </a:r>
            <a:r>
              <a:rPr lang="en-GB" spc="-13"/>
              <a:t>Express. </a:t>
            </a:r>
            <a:r>
              <a:rPr lang="en-GB"/>
              <a:t>It</a:t>
            </a:r>
            <a:r>
              <a:rPr lang="en-GB" spc="40"/>
              <a:t> </a:t>
            </a:r>
            <a:r>
              <a:rPr lang="en-GB" spc="-13"/>
              <a:t>cannot</a:t>
            </a:r>
            <a:r>
              <a:rPr lang="en-GB" spc="27"/>
              <a:t> </a:t>
            </a:r>
            <a:r>
              <a:rPr lang="en-GB"/>
              <a:t>be</a:t>
            </a:r>
            <a:r>
              <a:rPr lang="en-GB" spc="33"/>
              <a:t> </a:t>
            </a:r>
            <a:r>
              <a:rPr lang="en-GB" spc="-13"/>
              <a:t>shared</a:t>
            </a:r>
            <a:r>
              <a:rPr lang="en-GB" spc="13"/>
              <a:t> </a:t>
            </a:r>
            <a:r>
              <a:rPr lang="en-GB"/>
              <a:t>with</a:t>
            </a:r>
            <a:r>
              <a:rPr lang="en-GB" spc="27"/>
              <a:t> </a:t>
            </a:r>
            <a:r>
              <a:rPr lang="en-GB"/>
              <a:t>third</a:t>
            </a:r>
            <a:r>
              <a:rPr lang="en-GB" spc="13"/>
              <a:t> </a:t>
            </a:r>
            <a:r>
              <a:rPr lang="en-GB"/>
              <a:t>parties</a:t>
            </a:r>
            <a:r>
              <a:rPr lang="en-GB" spc="-7"/>
              <a:t> </a:t>
            </a:r>
            <a:r>
              <a:rPr lang="en-GB" spc="-13"/>
              <a:t>without</a:t>
            </a:r>
          </a:p>
          <a:p>
            <a:pPr marL="16933"/>
            <a:r>
              <a:rPr lang="en-GB" spc="-13"/>
              <a:t>American Express’ </a:t>
            </a:r>
            <a:r>
              <a:rPr lang="en-GB"/>
              <a:t>written </a:t>
            </a:r>
            <a:r>
              <a:rPr lang="en-GB" spc="-13"/>
              <a:t>consent. AMERICAN</a:t>
            </a:r>
            <a:r>
              <a:rPr lang="en-GB" spc="-20"/>
              <a:t> </a:t>
            </a:r>
            <a:r>
              <a:rPr lang="en-GB" spc="-13"/>
              <a:t>EXPRESS PROPRIETARY</a:t>
            </a:r>
            <a:r>
              <a:rPr lang="en-GB" spc="20"/>
              <a:t> </a:t>
            </a:r>
            <a:r>
              <a:rPr lang="en-GB"/>
              <a:t>&amp;</a:t>
            </a:r>
            <a:r>
              <a:rPr lang="en-GB" spc="33"/>
              <a:t> </a:t>
            </a:r>
            <a:r>
              <a:rPr lang="en-GB" spc="-13"/>
              <a:t>CONFIDENTIAL.</a:t>
            </a:r>
            <a:r>
              <a:rPr lang="en-GB" spc="27"/>
              <a:t> </a:t>
            </a:r>
            <a:r>
              <a:rPr lang="en-GB"/>
              <a:t>DO</a:t>
            </a:r>
            <a:r>
              <a:rPr lang="en-GB" spc="53"/>
              <a:t> </a:t>
            </a:r>
            <a:r>
              <a:rPr lang="en-GB"/>
              <a:t>NOT</a:t>
            </a:r>
            <a:r>
              <a:rPr lang="en-GB" spc="53"/>
              <a:t> </a:t>
            </a:r>
            <a:r>
              <a:rPr lang="en-GB" spc="-13"/>
              <a:t>COPY.</a:t>
            </a:r>
            <a:r>
              <a:rPr lang="en-GB" spc="7"/>
              <a:t> </a:t>
            </a:r>
            <a:r>
              <a:rPr lang="en-GB"/>
              <a:t>DO</a:t>
            </a:r>
            <a:r>
              <a:rPr lang="en-GB" spc="47"/>
              <a:t> </a:t>
            </a:r>
            <a:r>
              <a:rPr lang="en-GB"/>
              <a:t>NOT</a:t>
            </a:r>
            <a:r>
              <a:rPr lang="en-GB" spc="60"/>
              <a:t> </a:t>
            </a:r>
            <a:r>
              <a:rPr lang="en-GB" spc="-13"/>
              <a:t>DISTRIBUTE.</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6/2023</a:t>
            </a:fld>
            <a:endParaRPr lang="en-US"/>
          </a:p>
        </p:txBody>
      </p:sp>
      <p:sp>
        <p:nvSpPr>
          <p:cNvPr id="7" name="Holder 7"/>
          <p:cNvSpPr>
            <a:spLocks noGrp="1"/>
          </p:cNvSpPr>
          <p:nvPr>
            <p:ph type="sldNum" sz="quarter" idx="7"/>
          </p:nvPr>
        </p:nvSpPr>
        <p:spPr/>
        <p:txBody>
          <a:bodyPr lIns="0" tIns="0" rIns="0" bIns="0"/>
          <a:lstStyle>
            <a:lvl1pPr>
              <a:defRPr sz="1600" b="0" i="0">
                <a:solidFill>
                  <a:srgbClr val="006ECF"/>
                </a:solidFill>
                <a:latin typeface="BentonSans Regular"/>
                <a:cs typeface="BentonSans Regular"/>
              </a:defRPr>
            </a:lvl1pPr>
          </a:lstStyle>
          <a:p>
            <a:pPr marL="50799">
              <a:lnSpc>
                <a:spcPts val="1713"/>
              </a:lnSpc>
            </a:pPr>
            <a:fld id="{81D60167-4931-47E6-BA6A-407CBD079E47}" type="slidenum">
              <a:rPr lang="en-GB" smtClean="0"/>
              <a:pPr marL="50799">
                <a:lnSpc>
                  <a:spcPts val="1713"/>
                </a:lnSpc>
              </a:pPr>
              <a:t>‹#›</a:t>
            </a:fld>
            <a:endParaRPr lang="en-GB"/>
          </a:p>
        </p:txBody>
      </p:sp>
    </p:spTree>
    <p:extLst>
      <p:ext uri="{BB962C8B-B14F-4D97-AF65-F5344CB8AC3E}">
        <p14:creationId xmlns:p14="http://schemas.microsoft.com/office/powerpoint/2010/main" val="326466645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38540" y="1030392"/>
            <a:ext cx="9716345" cy="328231"/>
          </a:xfrm>
        </p:spPr>
        <p:txBody>
          <a:bodyPr lIns="0" tIns="0" rIns="0" bIns="0"/>
          <a:lstStyle>
            <a:lvl1pPr>
              <a:defRPr sz="2133" b="0" i="0">
                <a:solidFill>
                  <a:srgbClr val="52555A"/>
                </a:solidFill>
                <a:latin typeface="BentonSans Regular"/>
                <a:cs typeface="BentonSans Regular"/>
              </a:defRPr>
            </a:lvl1pPr>
          </a:lstStyle>
          <a:p>
            <a:endParaRPr/>
          </a:p>
        </p:txBody>
      </p:sp>
      <p:sp>
        <p:nvSpPr>
          <p:cNvPr id="3" name="Holder 3"/>
          <p:cNvSpPr>
            <a:spLocks noGrp="1"/>
          </p:cNvSpPr>
          <p:nvPr>
            <p:ph type="ftr" sz="quarter" idx="5"/>
          </p:nvPr>
        </p:nvSpPr>
        <p:spPr>
          <a:xfrm>
            <a:off x="1766124" y="8485113"/>
            <a:ext cx="7184249" cy="205249"/>
          </a:xfrm>
        </p:spPr>
        <p:txBody>
          <a:bodyPr lIns="0" tIns="0" rIns="0" bIns="0"/>
          <a:lstStyle>
            <a:lvl1pPr>
              <a:defRPr sz="667" b="0" i="0">
                <a:solidFill>
                  <a:srgbClr val="52555A"/>
                </a:solidFill>
                <a:latin typeface="BentonSans Regular"/>
                <a:cs typeface="BentonSans Regular"/>
              </a:defRPr>
            </a:lvl1pPr>
          </a:lstStyle>
          <a:p>
            <a:pPr marL="16933">
              <a:lnSpc>
                <a:spcPts val="793"/>
              </a:lnSpc>
            </a:pPr>
            <a:r>
              <a:rPr lang="en-GB"/>
              <a:t>This</a:t>
            </a:r>
            <a:r>
              <a:rPr lang="en-GB" spc="7"/>
              <a:t> </a:t>
            </a:r>
            <a:r>
              <a:rPr lang="en-GB" spc="-13"/>
              <a:t>material contains information</a:t>
            </a:r>
            <a:r>
              <a:rPr lang="en-GB" spc="27"/>
              <a:t> </a:t>
            </a:r>
            <a:r>
              <a:rPr lang="en-GB"/>
              <a:t>that</a:t>
            </a:r>
            <a:r>
              <a:rPr lang="en-GB" spc="27"/>
              <a:t> </a:t>
            </a:r>
            <a:r>
              <a:rPr lang="en-GB"/>
              <a:t>is</a:t>
            </a:r>
            <a:r>
              <a:rPr lang="en-GB" spc="20"/>
              <a:t> </a:t>
            </a:r>
            <a:r>
              <a:rPr lang="en-GB" spc="-13"/>
              <a:t>proprietary </a:t>
            </a:r>
            <a:r>
              <a:rPr lang="en-GB"/>
              <a:t>and</a:t>
            </a:r>
            <a:r>
              <a:rPr lang="en-GB" spc="40"/>
              <a:t> </a:t>
            </a:r>
            <a:r>
              <a:rPr lang="en-GB" spc="-13"/>
              <a:t>confidential</a:t>
            </a:r>
            <a:r>
              <a:rPr lang="en-GB"/>
              <a:t> to</a:t>
            </a:r>
            <a:r>
              <a:rPr lang="en-GB" spc="27"/>
              <a:t> </a:t>
            </a:r>
            <a:r>
              <a:rPr lang="en-GB" spc="-13"/>
              <a:t>American</a:t>
            </a:r>
            <a:r>
              <a:rPr lang="en-GB" spc="7"/>
              <a:t> </a:t>
            </a:r>
            <a:r>
              <a:rPr lang="en-GB" spc="-13"/>
              <a:t>Express. </a:t>
            </a:r>
            <a:r>
              <a:rPr lang="en-GB"/>
              <a:t>It</a:t>
            </a:r>
            <a:r>
              <a:rPr lang="en-GB" spc="40"/>
              <a:t> </a:t>
            </a:r>
            <a:r>
              <a:rPr lang="en-GB" spc="-13"/>
              <a:t>cannot</a:t>
            </a:r>
            <a:r>
              <a:rPr lang="en-GB" spc="27"/>
              <a:t> </a:t>
            </a:r>
            <a:r>
              <a:rPr lang="en-GB"/>
              <a:t>be</a:t>
            </a:r>
            <a:r>
              <a:rPr lang="en-GB" spc="33"/>
              <a:t> </a:t>
            </a:r>
            <a:r>
              <a:rPr lang="en-GB" spc="-13"/>
              <a:t>shared</a:t>
            </a:r>
            <a:r>
              <a:rPr lang="en-GB" spc="13"/>
              <a:t> </a:t>
            </a:r>
            <a:r>
              <a:rPr lang="en-GB"/>
              <a:t>with</a:t>
            </a:r>
            <a:r>
              <a:rPr lang="en-GB" spc="27"/>
              <a:t> </a:t>
            </a:r>
            <a:r>
              <a:rPr lang="en-GB"/>
              <a:t>third</a:t>
            </a:r>
            <a:r>
              <a:rPr lang="en-GB" spc="13"/>
              <a:t> </a:t>
            </a:r>
            <a:r>
              <a:rPr lang="en-GB"/>
              <a:t>parties</a:t>
            </a:r>
            <a:r>
              <a:rPr lang="en-GB" spc="-7"/>
              <a:t> </a:t>
            </a:r>
            <a:r>
              <a:rPr lang="en-GB" spc="-13"/>
              <a:t>without</a:t>
            </a:r>
          </a:p>
          <a:p>
            <a:pPr marL="16933"/>
            <a:r>
              <a:rPr lang="en-GB" spc="-13"/>
              <a:t>American Express’ </a:t>
            </a:r>
            <a:r>
              <a:rPr lang="en-GB"/>
              <a:t>written </a:t>
            </a:r>
            <a:r>
              <a:rPr lang="en-GB" spc="-13"/>
              <a:t>consent. AMERICAN</a:t>
            </a:r>
            <a:r>
              <a:rPr lang="en-GB" spc="-20"/>
              <a:t> </a:t>
            </a:r>
            <a:r>
              <a:rPr lang="en-GB" spc="-13"/>
              <a:t>EXPRESS PROPRIETARY</a:t>
            </a:r>
            <a:r>
              <a:rPr lang="en-GB" spc="20"/>
              <a:t> </a:t>
            </a:r>
            <a:r>
              <a:rPr lang="en-GB"/>
              <a:t>&amp;</a:t>
            </a:r>
            <a:r>
              <a:rPr lang="en-GB" spc="33"/>
              <a:t> </a:t>
            </a:r>
            <a:r>
              <a:rPr lang="en-GB" spc="-13"/>
              <a:t>CONFIDENTIAL.</a:t>
            </a:r>
            <a:r>
              <a:rPr lang="en-GB" spc="27"/>
              <a:t> </a:t>
            </a:r>
            <a:r>
              <a:rPr lang="en-GB"/>
              <a:t>DO</a:t>
            </a:r>
            <a:r>
              <a:rPr lang="en-GB" spc="53"/>
              <a:t> </a:t>
            </a:r>
            <a:r>
              <a:rPr lang="en-GB"/>
              <a:t>NOT</a:t>
            </a:r>
            <a:r>
              <a:rPr lang="en-GB" spc="53"/>
              <a:t> </a:t>
            </a:r>
            <a:r>
              <a:rPr lang="en-GB" spc="-13"/>
              <a:t>COPY.</a:t>
            </a:r>
            <a:r>
              <a:rPr lang="en-GB" spc="7"/>
              <a:t> </a:t>
            </a:r>
            <a:r>
              <a:rPr lang="en-GB"/>
              <a:t>DO</a:t>
            </a:r>
            <a:r>
              <a:rPr lang="en-GB" spc="47"/>
              <a:t> </a:t>
            </a:r>
            <a:r>
              <a:rPr lang="en-GB"/>
              <a:t>NOT</a:t>
            </a:r>
            <a:r>
              <a:rPr lang="en-GB" spc="60"/>
              <a:t> </a:t>
            </a:r>
            <a:r>
              <a:rPr lang="en-GB" spc="-13"/>
              <a:t>DISTRIBUTE.</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6/2023</a:t>
            </a:fld>
            <a:endParaRPr lang="en-US"/>
          </a:p>
        </p:txBody>
      </p:sp>
      <p:sp>
        <p:nvSpPr>
          <p:cNvPr id="5" name="Holder 5"/>
          <p:cNvSpPr>
            <a:spLocks noGrp="1"/>
          </p:cNvSpPr>
          <p:nvPr>
            <p:ph type="sldNum" sz="quarter" idx="7"/>
          </p:nvPr>
        </p:nvSpPr>
        <p:spPr/>
        <p:txBody>
          <a:bodyPr lIns="0" tIns="0" rIns="0" bIns="0"/>
          <a:lstStyle>
            <a:lvl1pPr>
              <a:defRPr sz="1600" b="0" i="0">
                <a:solidFill>
                  <a:srgbClr val="006ECF"/>
                </a:solidFill>
                <a:latin typeface="BentonSans Regular"/>
                <a:cs typeface="BentonSans Regular"/>
              </a:defRPr>
            </a:lvl1pPr>
          </a:lstStyle>
          <a:p>
            <a:pPr marL="50799">
              <a:lnSpc>
                <a:spcPts val="1713"/>
              </a:lnSpc>
            </a:pPr>
            <a:fld id="{81D60167-4931-47E6-BA6A-407CBD079E47}" type="slidenum">
              <a:rPr lang="en-GB" smtClean="0"/>
              <a:pPr marL="50799">
                <a:lnSpc>
                  <a:spcPts val="1713"/>
                </a:lnSpc>
              </a:pPr>
              <a:t>‹#›</a:t>
            </a:fld>
            <a:endParaRPr lang="en-GB"/>
          </a:p>
        </p:txBody>
      </p:sp>
    </p:spTree>
    <p:extLst>
      <p:ext uri="{BB962C8B-B14F-4D97-AF65-F5344CB8AC3E}">
        <p14:creationId xmlns:p14="http://schemas.microsoft.com/office/powerpoint/2010/main" val="87947685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1766124" y="8485113"/>
            <a:ext cx="7184249" cy="205249"/>
          </a:xfrm>
        </p:spPr>
        <p:txBody>
          <a:bodyPr lIns="0" tIns="0" rIns="0" bIns="0"/>
          <a:lstStyle>
            <a:lvl1pPr>
              <a:defRPr sz="667" b="0" i="0">
                <a:solidFill>
                  <a:srgbClr val="52555A"/>
                </a:solidFill>
                <a:latin typeface="BentonSans Regular"/>
                <a:cs typeface="BentonSans Regular"/>
              </a:defRPr>
            </a:lvl1pPr>
          </a:lstStyle>
          <a:p>
            <a:pPr marL="16933">
              <a:lnSpc>
                <a:spcPts val="793"/>
              </a:lnSpc>
            </a:pPr>
            <a:r>
              <a:rPr lang="en-GB"/>
              <a:t>This</a:t>
            </a:r>
            <a:r>
              <a:rPr lang="en-GB" spc="7"/>
              <a:t> </a:t>
            </a:r>
            <a:r>
              <a:rPr lang="en-GB" spc="-13"/>
              <a:t>material contains information</a:t>
            </a:r>
            <a:r>
              <a:rPr lang="en-GB" spc="27"/>
              <a:t> </a:t>
            </a:r>
            <a:r>
              <a:rPr lang="en-GB"/>
              <a:t>that</a:t>
            </a:r>
            <a:r>
              <a:rPr lang="en-GB" spc="27"/>
              <a:t> </a:t>
            </a:r>
            <a:r>
              <a:rPr lang="en-GB"/>
              <a:t>is</a:t>
            </a:r>
            <a:r>
              <a:rPr lang="en-GB" spc="20"/>
              <a:t> </a:t>
            </a:r>
            <a:r>
              <a:rPr lang="en-GB" spc="-13"/>
              <a:t>proprietary </a:t>
            </a:r>
            <a:r>
              <a:rPr lang="en-GB"/>
              <a:t>and</a:t>
            </a:r>
            <a:r>
              <a:rPr lang="en-GB" spc="40"/>
              <a:t> </a:t>
            </a:r>
            <a:r>
              <a:rPr lang="en-GB" spc="-13"/>
              <a:t>confidential</a:t>
            </a:r>
            <a:r>
              <a:rPr lang="en-GB"/>
              <a:t> to</a:t>
            </a:r>
            <a:r>
              <a:rPr lang="en-GB" spc="27"/>
              <a:t> </a:t>
            </a:r>
            <a:r>
              <a:rPr lang="en-GB" spc="-13"/>
              <a:t>American</a:t>
            </a:r>
            <a:r>
              <a:rPr lang="en-GB" spc="7"/>
              <a:t> </a:t>
            </a:r>
            <a:r>
              <a:rPr lang="en-GB" spc="-13"/>
              <a:t>Express. </a:t>
            </a:r>
            <a:r>
              <a:rPr lang="en-GB"/>
              <a:t>It</a:t>
            </a:r>
            <a:r>
              <a:rPr lang="en-GB" spc="40"/>
              <a:t> </a:t>
            </a:r>
            <a:r>
              <a:rPr lang="en-GB" spc="-13"/>
              <a:t>cannot</a:t>
            </a:r>
            <a:r>
              <a:rPr lang="en-GB" spc="27"/>
              <a:t> </a:t>
            </a:r>
            <a:r>
              <a:rPr lang="en-GB"/>
              <a:t>be</a:t>
            </a:r>
            <a:r>
              <a:rPr lang="en-GB" spc="33"/>
              <a:t> </a:t>
            </a:r>
            <a:r>
              <a:rPr lang="en-GB" spc="-13"/>
              <a:t>shared</a:t>
            </a:r>
            <a:r>
              <a:rPr lang="en-GB" spc="13"/>
              <a:t> </a:t>
            </a:r>
            <a:r>
              <a:rPr lang="en-GB"/>
              <a:t>with</a:t>
            </a:r>
            <a:r>
              <a:rPr lang="en-GB" spc="27"/>
              <a:t> </a:t>
            </a:r>
            <a:r>
              <a:rPr lang="en-GB"/>
              <a:t>third</a:t>
            </a:r>
            <a:r>
              <a:rPr lang="en-GB" spc="13"/>
              <a:t> </a:t>
            </a:r>
            <a:r>
              <a:rPr lang="en-GB"/>
              <a:t>parties</a:t>
            </a:r>
            <a:r>
              <a:rPr lang="en-GB" spc="-7"/>
              <a:t> </a:t>
            </a:r>
            <a:r>
              <a:rPr lang="en-GB" spc="-13"/>
              <a:t>without</a:t>
            </a:r>
          </a:p>
          <a:p>
            <a:pPr marL="16933"/>
            <a:r>
              <a:rPr lang="en-GB" spc="-13"/>
              <a:t>American Express’ </a:t>
            </a:r>
            <a:r>
              <a:rPr lang="en-GB"/>
              <a:t>written </a:t>
            </a:r>
            <a:r>
              <a:rPr lang="en-GB" spc="-13"/>
              <a:t>consent. AMERICAN</a:t>
            </a:r>
            <a:r>
              <a:rPr lang="en-GB" spc="-20"/>
              <a:t> </a:t>
            </a:r>
            <a:r>
              <a:rPr lang="en-GB" spc="-13"/>
              <a:t>EXPRESS PROPRIETARY</a:t>
            </a:r>
            <a:r>
              <a:rPr lang="en-GB" spc="20"/>
              <a:t> </a:t>
            </a:r>
            <a:r>
              <a:rPr lang="en-GB"/>
              <a:t>&amp;</a:t>
            </a:r>
            <a:r>
              <a:rPr lang="en-GB" spc="33"/>
              <a:t> </a:t>
            </a:r>
            <a:r>
              <a:rPr lang="en-GB" spc="-13"/>
              <a:t>CONFIDENTIAL.</a:t>
            </a:r>
            <a:r>
              <a:rPr lang="en-GB" spc="27"/>
              <a:t> </a:t>
            </a:r>
            <a:r>
              <a:rPr lang="en-GB"/>
              <a:t>DO</a:t>
            </a:r>
            <a:r>
              <a:rPr lang="en-GB" spc="53"/>
              <a:t> </a:t>
            </a:r>
            <a:r>
              <a:rPr lang="en-GB"/>
              <a:t>NOT</a:t>
            </a:r>
            <a:r>
              <a:rPr lang="en-GB" spc="53"/>
              <a:t> </a:t>
            </a:r>
            <a:r>
              <a:rPr lang="en-GB" spc="-13"/>
              <a:t>COPY.</a:t>
            </a:r>
            <a:r>
              <a:rPr lang="en-GB" spc="7"/>
              <a:t> </a:t>
            </a:r>
            <a:r>
              <a:rPr lang="en-GB"/>
              <a:t>DO</a:t>
            </a:r>
            <a:r>
              <a:rPr lang="en-GB" spc="47"/>
              <a:t> </a:t>
            </a:r>
            <a:r>
              <a:rPr lang="en-GB"/>
              <a:t>NOT</a:t>
            </a:r>
            <a:r>
              <a:rPr lang="en-GB" spc="60"/>
              <a:t> </a:t>
            </a:r>
            <a:r>
              <a:rPr lang="en-GB" spc="-13"/>
              <a:t>DISTRIBUTE.</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6/2023</a:t>
            </a:fld>
            <a:endParaRPr lang="en-US"/>
          </a:p>
        </p:txBody>
      </p:sp>
      <p:sp>
        <p:nvSpPr>
          <p:cNvPr id="4" name="Holder 4"/>
          <p:cNvSpPr>
            <a:spLocks noGrp="1"/>
          </p:cNvSpPr>
          <p:nvPr>
            <p:ph type="sldNum" sz="quarter" idx="7"/>
          </p:nvPr>
        </p:nvSpPr>
        <p:spPr/>
        <p:txBody>
          <a:bodyPr lIns="0" tIns="0" rIns="0" bIns="0"/>
          <a:lstStyle>
            <a:lvl1pPr>
              <a:defRPr sz="1600" b="0" i="0">
                <a:solidFill>
                  <a:srgbClr val="006ECF"/>
                </a:solidFill>
                <a:latin typeface="BentonSans Regular"/>
                <a:cs typeface="BentonSans Regular"/>
              </a:defRPr>
            </a:lvl1pPr>
          </a:lstStyle>
          <a:p>
            <a:pPr marL="50799">
              <a:lnSpc>
                <a:spcPts val="1713"/>
              </a:lnSpc>
            </a:pPr>
            <a:fld id="{81D60167-4931-47E6-BA6A-407CBD079E47}" type="slidenum">
              <a:rPr lang="en-GB" smtClean="0"/>
              <a:pPr marL="50799">
                <a:lnSpc>
                  <a:spcPts val="1713"/>
                </a:lnSpc>
              </a:pPr>
              <a:t>‹#›</a:t>
            </a:fld>
            <a:endParaRPr lang="en-GB"/>
          </a:p>
        </p:txBody>
      </p:sp>
    </p:spTree>
    <p:extLst>
      <p:ext uri="{BB962C8B-B14F-4D97-AF65-F5344CB8AC3E}">
        <p14:creationId xmlns:p14="http://schemas.microsoft.com/office/powerpoint/2010/main" val="32859704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6619A-EDC3-3B73-31EF-2B5EDB6857DF}"/>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21CFF8B8-7357-5664-8BD5-8C2BFB2708C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FCD13873-64F1-0EAC-BBBD-00D7E380BFBA}"/>
              </a:ext>
            </a:extLst>
          </p:cNvPr>
          <p:cNvSpPr>
            <a:spLocks noGrp="1"/>
          </p:cNvSpPr>
          <p:nvPr>
            <p:ph type="dt" sz="half" idx="10"/>
          </p:nvPr>
        </p:nvSpPr>
        <p:spPr/>
        <p:txBody>
          <a:bodyPr/>
          <a:lstStyle/>
          <a:p>
            <a:fld id="{2D1771C6-0EE6-432D-B16F-77701201C33E}" type="datetimeFigureOut">
              <a:rPr lang="en-GB" smtClean="0"/>
              <a:t>16/05/2023</a:t>
            </a:fld>
            <a:endParaRPr lang="en-GB"/>
          </a:p>
        </p:txBody>
      </p:sp>
      <p:sp>
        <p:nvSpPr>
          <p:cNvPr id="5" name="Footer Placeholder 4">
            <a:extLst>
              <a:ext uri="{FF2B5EF4-FFF2-40B4-BE49-F238E27FC236}">
                <a16:creationId xmlns:a16="http://schemas.microsoft.com/office/drawing/2014/main" id="{8F19BE99-00A8-DA35-DB78-7E597470FEF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8952E60-D8B7-F65F-1329-1BAB332BD78E}"/>
              </a:ext>
            </a:extLst>
          </p:cNvPr>
          <p:cNvSpPr>
            <a:spLocks noGrp="1"/>
          </p:cNvSpPr>
          <p:nvPr>
            <p:ph type="sldNum" sz="quarter" idx="12"/>
          </p:nvPr>
        </p:nvSpPr>
        <p:spPr/>
        <p:txBody>
          <a:bodyPr/>
          <a:lstStyle/>
          <a:p>
            <a:fld id="{9F5BD61F-9C7B-4E41-A931-60B10B090C73}" type="slidenum">
              <a:rPr lang="en-GB" smtClean="0"/>
              <a:t>‹#›</a:t>
            </a:fld>
            <a:endParaRPr lang="en-GB"/>
          </a:p>
        </p:txBody>
      </p:sp>
    </p:spTree>
    <p:extLst>
      <p:ext uri="{BB962C8B-B14F-4D97-AF65-F5344CB8AC3E}">
        <p14:creationId xmlns:p14="http://schemas.microsoft.com/office/powerpoint/2010/main" val="31724327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65DA77-85CE-7E35-800C-CD55C995BC65}"/>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5437547D-3556-C448-9535-1F2FB2DEC27D}"/>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827FAAE4-F3BF-C151-A93A-BEF86020DD72}"/>
              </a:ext>
            </a:extLst>
          </p:cNvPr>
          <p:cNvSpPr>
            <a:spLocks noGrp="1"/>
          </p:cNvSpPr>
          <p:nvPr>
            <p:ph type="dt" sz="half" idx="10"/>
          </p:nvPr>
        </p:nvSpPr>
        <p:spPr/>
        <p:txBody>
          <a:bodyPr/>
          <a:lstStyle/>
          <a:p>
            <a:fld id="{2D1771C6-0EE6-432D-B16F-77701201C33E}" type="datetimeFigureOut">
              <a:rPr lang="en-GB" smtClean="0"/>
              <a:t>16/05/2023</a:t>
            </a:fld>
            <a:endParaRPr lang="en-GB"/>
          </a:p>
        </p:txBody>
      </p:sp>
      <p:sp>
        <p:nvSpPr>
          <p:cNvPr id="5" name="Footer Placeholder 4">
            <a:extLst>
              <a:ext uri="{FF2B5EF4-FFF2-40B4-BE49-F238E27FC236}">
                <a16:creationId xmlns:a16="http://schemas.microsoft.com/office/drawing/2014/main" id="{C699926A-CBFD-2ECE-72CC-0B1888D5125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336B25F-53F5-4C01-3BD1-2C98A60C6FF6}"/>
              </a:ext>
            </a:extLst>
          </p:cNvPr>
          <p:cNvSpPr>
            <a:spLocks noGrp="1"/>
          </p:cNvSpPr>
          <p:nvPr>
            <p:ph type="sldNum" sz="quarter" idx="12"/>
          </p:nvPr>
        </p:nvSpPr>
        <p:spPr/>
        <p:txBody>
          <a:bodyPr/>
          <a:lstStyle/>
          <a:p>
            <a:fld id="{9F5BD61F-9C7B-4E41-A931-60B10B090C73}" type="slidenum">
              <a:rPr lang="en-GB" smtClean="0"/>
              <a:t>‹#›</a:t>
            </a:fld>
            <a:endParaRPr lang="en-GB"/>
          </a:p>
        </p:txBody>
      </p:sp>
    </p:spTree>
    <p:extLst>
      <p:ext uri="{BB962C8B-B14F-4D97-AF65-F5344CB8AC3E}">
        <p14:creationId xmlns:p14="http://schemas.microsoft.com/office/powerpoint/2010/main" val="36135430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D8738-0804-0102-1EAA-F41ABA2F5236}"/>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1DB16F35-CD12-529E-12B7-89A8F98F786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E83DD4EE-5E73-53E9-544E-4C63C7BFD53E}"/>
              </a:ext>
            </a:extLst>
          </p:cNvPr>
          <p:cNvSpPr>
            <a:spLocks noGrp="1"/>
          </p:cNvSpPr>
          <p:nvPr>
            <p:ph type="dt" sz="half" idx="10"/>
          </p:nvPr>
        </p:nvSpPr>
        <p:spPr/>
        <p:txBody>
          <a:bodyPr/>
          <a:lstStyle/>
          <a:p>
            <a:fld id="{2D1771C6-0EE6-432D-B16F-77701201C33E}" type="datetimeFigureOut">
              <a:rPr lang="en-GB" smtClean="0"/>
              <a:t>16/05/2023</a:t>
            </a:fld>
            <a:endParaRPr lang="en-GB"/>
          </a:p>
        </p:txBody>
      </p:sp>
      <p:sp>
        <p:nvSpPr>
          <p:cNvPr id="5" name="Footer Placeholder 4">
            <a:extLst>
              <a:ext uri="{FF2B5EF4-FFF2-40B4-BE49-F238E27FC236}">
                <a16:creationId xmlns:a16="http://schemas.microsoft.com/office/drawing/2014/main" id="{C387BC5E-9F08-8C48-401C-B8D642872D8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9855FCE-1489-A90C-A77E-20BF79C5531E}"/>
              </a:ext>
            </a:extLst>
          </p:cNvPr>
          <p:cNvSpPr>
            <a:spLocks noGrp="1"/>
          </p:cNvSpPr>
          <p:nvPr>
            <p:ph type="sldNum" sz="quarter" idx="12"/>
          </p:nvPr>
        </p:nvSpPr>
        <p:spPr/>
        <p:txBody>
          <a:bodyPr/>
          <a:lstStyle/>
          <a:p>
            <a:fld id="{9F5BD61F-9C7B-4E41-A931-60B10B090C73}" type="slidenum">
              <a:rPr lang="en-GB" smtClean="0"/>
              <a:t>‹#›</a:t>
            </a:fld>
            <a:endParaRPr lang="en-GB"/>
          </a:p>
        </p:txBody>
      </p:sp>
    </p:spTree>
    <p:extLst>
      <p:ext uri="{BB962C8B-B14F-4D97-AF65-F5344CB8AC3E}">
        <p14:creationId xmlns:p14="http://schemas.microsoft.com/office/powerpoint/2010/main" val="21539112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727E-9BA0-365F-74C7-DD7B9A1ACBC9}"/>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EF825D80-6DC4-DECB-30D8-D27C46D9ECAB}"/>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FEF85468-3E3D-8873-957B-FCD96F926A08}"/>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D8510AFC-3F06-7F03-EA44-DBF039BD8608}"/>
              </a:ext>
            </a:extLst>
          </p:cNvPr>
          <p:cNvSpPr>
            <a:spLocks noGrp="1"/>
          </p:cNvSpPr>
          <p:nvPr>
            <p:ph type="dt" sz="half" idx="10"/>
          </p:nvPr>
        </p:nvSpPr>
        <p:spPr/>
        <p:txBody>
          <a:bodyPr/>
          <a:lstStyle/>
          <a:p>
            <a:fld id="{2D1771C6-0EE6-432D-B16F-77701201C33E}" type="datetimeFigureOut">
              <a:rPr lang="en-GB" smtClean="0"/>
              <a:t>16/05/2023</a:t>
            </a:fld>
            <a:endParaRPr lang="en-GB"/>
          </a:p>
        </p:txBody>
      </p:sp>
      <p:sp>
        <p:nvSpPr>
          <p:cNvPr id="6" name="Footer Placeholder 5">
            <a:extLst>
              <a:ext uri="{FF2B5EF4-FFF2-40B4-BE49-F238E27FC236}">
                <a16:creationId xmlns:a16="http://schemas.microsoft.com/office/drawing/2014/main" id="{3029E871-1300-223D-B15B-FCA32300090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AF8D394-A317-2C9F-5095-8E73D32A5C82}"/>
              </a:ext>
            </a:extLst>
          </p:cNvPr>
          <p:cNvSpPr>
            <a:spLocks noGrp="1"/>
          </p:cNvSpPr>
          <p:nvPr>
            <p:ph type="sldNum" sz="quarter" idx="12"/>
          </p:nvPr>
        </p:nvSpPr>
        <p:spPr/>
        <p:txBody>
          <a:bodyPr/>
          <a:lstStyle/>
          <a:p>
            <a:fld id="{9F5BD61F-9C7B-4E41-A931-60B10B090C73}" type="slidenum">
              <a:rPr lang="en-GB" smtClean="0"/>
              <a:t>‹#›</a:t>
            </a:fld>
            <a:endParaRPr lang="en-GB"/>
          </a:p>
        </p:txBody>
      </p:sp>
    </p:spTree>
    <p:extLst>
      <p:ext uri="{BB962C8B-B14F-4D97-AF65-F5344CB8AC3E}">
        <p14:creationId xmlns:p14="http://schemas.microsoft.com/office/powerpoint/2010/main" val="24631428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One Column with Footnote">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893DF519-82D6-4089-858F-0A67C3841821}"/>
              </a:ext>
            </a:extLst>
          </p:cNvPr>
          <p:cNvSpPr>
            <a:spLocks noGrp="1"/>
          </p:cNvSpPr>
          <p:nvPr>
            <p:ph type="sldNum" sz="quarter" idx="16"/>
          </p:nvPr>
        </p:nvSpPr>
        <p:spPr>
          <a:xfrm>
            <a:off x="8984673" y="6356350"/>
            <a:ext cx="2743200" cy="365125"/>
          </a:xfrm>
          <a:prstGeom prst="rect">
            <a:avLst/>
          </a:prstGeom>
        </p:spPr>
        <p:txBody>
          <a:bodyPr/>
          <a:lstStyle/>
          <a:p>
            <a:fld id="{98A0C587-F233-4E5E-858E-FB1E8E13E555}" type="slidenum">
              <a:rPr lang="en-US" smtClean="0"/>
              <a:t>‹#›</a:t>
            </a:fld>
            <a:endParaRPr lang="en-US"/>
          </a:p>
        </p:txBody>
      </p:sp>
      <p:sp>
        <p:nvSpPr>
          <p:cNvPr id="9" name="Text Placeholder 2">
            <a:extLst>
              <a:ext uri="{FF2B5EF4-FFF2-40B4-BE49-F238E27FC236}">
                <a16:creationId xmlns:a16="http://schemas.microsoft.com/office/drawing/2014/main" id="{0BE09556-4B14-4B72-96D2-319D351D3700}"/>
              </a:ext>
            </a:extLst>
          </p:cNvPr>
          <p:cNvSpPr txBox="1">
            <a:spLocks/>
          </p:cNvSpPr>
          <p:nvPr/>
        </p:nvSpPr>
        <p:spPr>
          <a:xfrm>
            <a:off x="1278453" y="6203395"/>
            <a:ext cx="8233682" cy="365125"/>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800" b="0" i="0" kern="1200">
                <a:solidFill>
                  <a:srgbClr val="00175A"/>
                </a:solidFill>
                <a:latin typeface="Benton Sans Book" panose="02000404020000020004"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800" b="0" i="0" kern="1200">
                <a:solidFill>
                  <a:schemeClr val="bg1"/>
                </a:solidFill>
                <a:latin typeface="Benton Sans Book" panose="02000404020000020004"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800" b="0" i="0" kern="1200">
                <a:solidFill>
                  <a:schemeClr val="bg1"/>
                </a:solidFill>
                <a:latin typeface="Benton Sans Book" panose="02000404020000020004"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800" b="0" i="0" kern="1200">
                <a:solidFill>
                  <a:schemeClr val="bg1"/>
                </a:solidFill>
                <a:latin typeface="Benton Sans Book" panose="02000404020000020004"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800" b="0" i="0" kern="1200">
                <a:solidFill>
                  <a:schemeClr val="bg1"/>
                </a:solidFill>
                <a:latin typeface="Benton Sans Book" panose="02000404020000020004"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atin typeface="BentonSans Book" panose="02000503000000020004" pitchFamily="2" charset="0"/>
              </a:rPr>
              <a:t>This material contains information that is proprietary and confidential to American Express. It cannot be shared with third parties without American Express’ written consent. AMERICAN EXPRESS PROPRIETARY &amp; CONFIDENTIAL. DO NOT COPY. DO NOT DISTRIBUTE.</a:t>
            </a:r>
          </a:p>
        </p:txBody>
      </p:sp>
      <p:sp>
        <p:nvSpPr>
          <p:cNvPr id="13" name="Content Placeholder 2">
            <a:extLst>
              <a:ext uri="{FF2B5EF4-FFF2-40B4-BE49-F238E27FC236}">
                <a16:creationId xmlns:a16="http://schemas.microsoft.com/office/drawing/2014/main" id="{59A91C16-AC1F-4A6A-BA94-B59F0447BF51}"/>
              </a:ext>
            </a:extLst>
          </p:cNvPr>
          <p:cNvSpPr>
            <a:spLocks noGrp="1"/>
          </p:cNvSpPr>
          <p:nvPr>
            <p:ph sz="half" idx="13" hasCustomPrompt="1"/>
          </p:nvPr>
        </p:nvSpPr>
        <p:spPr>
          <a:xfrm>
            <a:off x="600076" y="1409700"/>
            <a:ext cx="10991850" cy="4030345"/>
          </a:xfrm>
          <a:prstGeom prst="rect">
            <a:avLst/>
          </a:prstGeom>
        </p:spPr>
        <p:txBody>
          <a:bodyPr/>
          <a:lstStyle>
            <a:lvl1pPr algn="just">
              <a:buNone/>
              <a:defRPr sz="2000" b="0" i="0" spc="0">
                <a:solidFill>
                  <a:srgbClr val="00175A"/>
                </a:solidFill>
                <a:latin typeface="BentonSans Book" panose="02000503000000020004" pitchFamily="2" charset="0"/>
              </a:defRPr>
            </a:lvl1pPr>
          </a:lstStyle>
          <a:p>
            <a:pPr lvl="0"/>
            <a:r>
              <a:rPr lang="en-US"/>
              <a:t>Body Copy</a:t>
            </a:r>
          </a:p>
        </p:txBody>
      </p:sp>
      <p:sp>
        <p:nvSpPr>
          <p:cNvPr id="4" name="Title 3">
            <a:extLst>
              <a:ext uri="{FF2B5EF4-FFF2-40B4-BE49-F238E27FC236}">
                <a16:creationId xmlns:a16="http://schemas.microsoft.com/office/drawing/2014/main" id="{0AE0AD1D-C62A-49F4-A08E-E627584161C4}"/>
              </a:ext>
            </a:extLst>
          </p:cNvPr>
          <p:cNvSpPr>
            <a:spLocks noGrp="1"/>
          </p:cNvSpPr>
          <p:nvPr>
            <p:ph type="title"/>
          </p:nvPr>
        </p:nvSpPr>
        <p:spPr/>
        <p:txBody>
          <a:bodyPr/>
          <a:lstStyle/>
          <a:p>
            <a:r>
              <a:rPr lang="en-US"/>
              <a:t>Click to edit Master title style</a:t>
            </a:r>
          </a:p>
        </p:txBody>
      </p:sp>
      <p:pic>
        <p:nvPicPr>
          <p:cNvPr id="7" name="Picture 6">
            <a:extLst>
              <a:ext uri="{FF2B5EF4-FFF2-40B4-BE49-F238E27FC236}">
                <a16:creationId xmlns:a16="http://schemas.microsoft.com/office/drawing/2014/main" id="{2662A8EC-D2E7-0846-9441-4D0547B554A1}"/>
              </a:ext>
            </a:extLst>
          </p:cNvPr>
          <p:cNvPicPr>
            <a:picLocks noChangeAspect="1"/>
          </p:cNvPicPr>
          <p:nvPr/>
        </p:nvPicPr>
        <p:blipFill>
          <a:blip r:embed="rId2"/>
          <a:stretch>
            <a:fillRect/>
          </a:stretch>
        </p:blipFill>
        <p:spPr>
          <a:xfrm>
            <a:off x="488244" y="5994766"/>
            <a:ext cx="779780" cy="779780"/>
          </a:xfrm>
          <a:prstGeom prst="rect">
            <a:avLst/>
          </a:prstGeom>
        </p:spPr>
      </p:pic>
    </p:spTree>
    <p:extLst>
      <p:ext uri="{BB962C8B-B14F-4D97-AF65-F5344CB8AC3E}">
        <p14:creationId xmlns:p14="http://schemas.microsoft.com/office/powerpoint/2010/main" val="2721269433"/>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F29AB-7E6C-8669-DA11-5F3A0038464B}"/>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72B9DBBB-8943-22E8-6F42-D5785640F29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F4258B79-4F51-DFDA-6E46-FC02C3542BA0}"/>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2DD831A1-9968-A45D-DA29-9AF1114C277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651D7E77-6E97-4362-533B-FA5A017B28FF}"/>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EE44BDBA-D8DB-A485-F761-5A9EBCE7B96D}"/>
              </a:ext>
            </a:extLst>
          </p:cNvPr>
          <p:cNvSpPr>
            <a:spLocks noGrp="1"/>
          </p:cNvSpPr>
          <p:nvPr>
            <p:ph type="dt" sz="half" idx="10"/>
          </p:nvPr>
        </p:nvSpPr>
        <p:spPr/>
        <p:txBody>
          <a:bodyPr/>
          <a:lstStyle/>
          <a:p>
            <a:fld id="{2D1771C6-0EE6-432D-B16F-77701201C33E}" type="datetimeFigureOut">
              <a:rPr lang="en-GB" smtClean="0"/>
              <a:t>16/05/2023</a:t>
            </a:fld>
            <a:endParaRPr lang="en-GB"/>
          </a:p>
        </p:txBody>
      </p:sp>
      <p:sp>
        <p:nvSpPr>
          <p:cNvPr id="8" name="Footer Placeholder 7">
            <a:extLst>
              <a:ext uri="{FF2B5EF4-FFF2-40B4-BE49-F238E27FC236}">
                <a16:creationId xmlns:a16="http://schemas.microsoft.com/office/drawing/2014/main" id="{F1B49987-9CA0-8B80-855C-181A00BA81BF}"/>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B3613FE7-5FEB-02BA-B5FE-45A7C19D0D72}"/>
              </a:ext>
            </a:extLst>
          </p:cNvPr>
          <p:cNvSpPr>
            <a:spLocks noGrp="1"/>
          </p:cNvSpPr>
          <p:nvPr>
            <p:ph type="sldNum" sz="quarter" idx="12"/>
          </p:nvPr>
        </p:nvSpPr>
        <p:spPr/>
        <p:txBody>
          <a:bodyPr/>
          <a:lstStyle/>
          <a:p>
            <a:fld id="{9F5BD61F-9C7B-4E41-A931-60B10B090C73}" type="slidenum">
              <a:rPr lang="en-GB" smtClean="0"/>
              <a:t>‹#›</a:t>
            </a:fld>
            <a:endParaRPr lang="en-GB"/>
          </a:p>
        </p:txBody>
      </p:sp>
    </p:spTree>
    <p:extLst>
      <p:ext uri="{BB962C8B-B14F-4D97-AF65-F5344CB8AC3E}">
        <p14:creationId xmlns:p14="http://schemas.microsoft.com/office/powerpoint/2010/main" val="274223272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360520-85BD-4780-66D1-B66C3B6546E4}"/>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DAD77FC6-FFB0-CF20-231E-8CE249CDC129}"/>
              </a:ext>
            </a:extLst>
          </p:cNvPr>
          <p:cNvSpPr>
            <a:spLocks noGrp="1"/>
          </p:cNvSpPr>
          <p:nvPr>
            <p:ph type="dt" sz="half" idx="10"/>
          </p:nvPr>
        </p:nvSpPr>
        <p:spPr/>
        <p:txBody>
          <a:bodyPr/>
          <a:lstStyle/>
          <a:p>
            <a:fld id="{2D1771C6-0EE6-432D-B16F-77701201C33E}" type="datetimeFigureOut">
              <a:rPr lang="en-GB" smtClean="0"/>
              <a:t>16/05/2023</a:t>
            </a:fld>
            <a:endParaRPr lang="en-GB"/>
          </a:p>
        </p:txBody>
      </p:sp>
      <p:sp>
        <p:nvSpPr>
          <p:cNvPr id="4" name="Footer Placeholder 3">
            <a:extLst>
              <a:ext uri="{FF2B5EF4-FFF2-40B4-BE49-F238E27FC236}">
                <a16:creationId xmlns:a16="http://schemas.microsoft.com/office/drawing/2014/main" id="{9D0C0CA7-9C97-5668-5A6A-07D0E738678B}"/>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6A67C66-AB4D-1A6F-0983-8168C6F8F691}"/>
              </a:ext>
            </a:extLst>
          </p:cNvPr>
          <p:cNvSpPr>
            <a:spLocks noGrp="1"/>
          </p:cNvSpPr>
          <p:nvPr>
            <p:ph type="sldNum" sz="quarter" idx="12"/>
          </p:nvPr>
        </p:nvSpPr>
        <p:spPr/>
        <p:txBody>
          <a:bodyPr/>
          <a:lstStyle/>
          <a:p>
            <a:fld id="{9F5BD61F-9C7B-4E41-A931-60B10B090C73}" type="slidenum">
              <a:rPr lang="en-GB" smtClean="0"/>
              <a:t>‹#›</a:t>
            </a:fld>
            <a:endParaRPr lang="en-GB"/>
          </a:p>
        </p:txBody>
      </p:sp>
    </p:spTree>
    <p:extLst>
      <p:ext uri="{BB962C8B-B14F-4D97-AF65-F5344CB8AC3E}">
        <p14:creationId xmlns:p14="http://schemas.microsoft.com/office/powerpoint/2010/main" val="29926723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C52E2FD-5941-2A26-4FC6-06B94B0AE24B}"/>
              </a:ext>
            </a:extLst>
          </p:cNvPr>
          <p:cNvSpPr>
            <a:spLocks noGrp="1"/>
          </p:cNvSpPr>
          <p:nvPr>
            <p:ph type="dt" sz="half" idx="10"/>
          </p:nvPr>
        </p:nvSpPr>
        <p:spPr/>
        <p:txBody>
          <a:bodyPr/>
          <a:lstStyle/>
          <a:p>
            <a:fld id="{2D1771C6-0EE6-432D-B16F-77701201C33E}" type="datetimeFigureOut">
              <a:rPr lang="en-GB" smtClean="0"/>
              <a:t>16/05/2023</a:t>
            </a:fld>
            <a:endParaRPr lang="en-GB"/>
          </a:p>
        </p:txBody>
      </p:sp>
      <p:sp>
        <p:nvSpPr>
          <p:cNvPr id="3" name="Footer Placeholder 2">
            <a:extLst>
              <a:ext uri="{FF2B5EF4-FFF2-40B4-BE49-F238E27FC236}">
                <a16:creationId xmlns:a16="http://schemas.microsoft.com/office/drawing/2014/main" id="{9FD88CF0-0ACD-0509-55DD-B1D64A57E421}"/>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155B06A-9DAE-984A-3207-3D34D17B15B3}"/>
              </a:ext>
            </a:extLst>
          </p:cNvPr>
          <p:cNvSpPr>
            <a:spLocks noGrp="1"/>
          </p:cNvSpPr>
          <p:nvPr>
            <p:ph type="sldNum" sz="quarter" idx="12"/>
          </p:nvPr>
        </p:nvSpPr>
        <p:spPr/>
        <p:txBody>
          <a:bodyPr/>
          <a:lstStyle/>
          <a:p>
            <a:fld id="{9F5BD61F-9C7B-4E41-A931-60B10B090C73}" type="slidenum">
              <a:rPr lang="en-GB" smtClean="0"/>
              <a:t>‹#›</a:t>
            </a:fld>
            <a:endParaRPr lang="en-GB"/>
          </a:p>
        </p:txBody>
      </p:sp>
    </p:spTree>
    <p:extLst>
      <p:ext uri="{BB962C8B-B14F-4D97-AF65-F5344CB8AC3E}">
        <p14:creationId xmlns:p14="http://schemas.microsoft.com/office/powerpoint/2010/main" val="21272654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711C1-9AEE-706F-0D5C-B3B94C2DF12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CA58F115-62F8-8660-AB04-E9A59F20860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B7CD9E10-CE18-DA72-CBF4-51DED47C514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71F18C26-37DB-0D4A-11ED-5BA9E30BB949}"/>
              </a:ext>
            </a:extLst>
          </p:cNvPr>
          <p:cNvSpPr>
            <a:spLocks noGrp="1"/>
          </p:cNvSpPr>
          <p:nvPr>
            <p:ph type="dt" sz="half" idx="10"/>
          </p:nvPr>
        </p:nvSpPr>
        <p:spPr/>
        <p:txBody>
          <a:bodyPr/>
          <a:lstStyle/>
          <a:p>
            <a:fld id="{2D1771C6-0EE6-432D-B16F-77701201C33E}" type="datetimeFigureOut">
              <a:rPr lang="en-GB" smtClean="0"/>
              <a:t>16/05/2023</a:t>
            </a:fld>
            <a:endParaRPr lang="en-GB"/>
          </a:p>
        </p:txBody>
      </p:sp>
      <p:sp>
        <p:nvSpPr>
          <p:cNvPr id="6" name="Footer Placeholder 5">
            <a:extLst>
              <a:ext uri="{FF2B5EF4-FFF2-40B4-BE49-F238E27FC236}">
                <a16:creationId xmlns:a16="http://schemas.microsoft.com/office/drawing/2014/main" id="{2B8B48ED-2308-312E-0382-001CD3B55DC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2FCC3D2-3093-06EA-3223-7E379F7270A7}"/>
              </a:ext>
            </a:extLst>
          </p:cNvPr>
          <p:cNvSpPr>
            <a:spLocks noGrp="1"/>
          </p:cNvSpPr>
          <p:nvPr>
            <p:ph type="sldNum" sz="quarter" idx="12"/>
          </p:nvPr>
        </p:nvSpPr>
        <p:spPr/>
        <p:txBody>
          <a:bodyPr/>
          <a:lstStyle/>
          <a:p>
            <a:fld id="{9F5BD61F-9C7B-4E41-A931-60B10B090C73}" type="slidenum">
              <a:rPr lang="en-GB" smtClean="0"/>
              <a:t>‹#›</a:t>
            </a:fld>
            <a:endParaRPr lang="en-GB"/>
          </a:p>
        </p:txBody>
      </p:sp>
    </p:spTree>
    <p:extLst>
      <p:ext uri="{BB962C8B-B14F-4D97-AF65-F5344CB8AC3E}">
        <p14:creationId xmlns:p14="http://schemas.microsoft.com/office/powerpoint/2010/main" val="178154997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E9B77-1C46-8EE8-2CB0-8A5DDBDE3B78}"/>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B000006F-B921-8945-B0DB-7DE7DFB3A7D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B006E653-4FF8-28E7-9F2C-EABC6D4961C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26408BB9-AF59-A31C-AE08-5F140708FD64}"/>
              </a:ext>
            </a:extLst>
          </p:cNvPr>
          <p:cNvSpPr>
            <a:spLocks noGrp="1"/>
          </p:cNvSpPr>
          <p:nvPr>
            <p:ph type="dt" sz="half" idx="10"/>
          </p:nvPr>
        </p:nvSpPr>
        <p:spPr/>
        <p:txBody>
          <a:bodyPr/>
          <a:lstStyle/>
          <a:p>
            <a:fld id="{2D1771C6-0EE6-432D-B16F-77701201C33E}" type="datetimeFigureOut">
              <a:rPr lang="en-GB" smtClean="0"/>
              <a:t>16/05/2023</a:t>
            </a:fld>
            <a:endParaRPr lang="en-GB"/>
          </a:p>
        </p:txBody>
      </p:sp>
      <p:sp>
        <p:nvSpPr>
          <p:cNvPr id="6" name="Footer Placeholder 5">
            <a:extLst>
              <a:ext uri="{FF2B5EF4-FFF2-40B4-BE49-F238E27FC236}">
                <a16:creationId xmlns:a16="http://schemas.microsoft.com/office/drawing/2014/main" id="{179F3BAD-EC82-40D5-BE7D-3282B1AE09A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B7035D1-FC15-CB9B-5ECC-51A0075672E3}"/>
              </a:ext>
            </a:extLst>
          </p:cNvPr>
          <p:cNvSpPr>
            <a:spLocks noGrp="1"/>
          </p:cNvSpPr>
          <p:nvPr>
            <p:ph type="sldNum" sz="quarter" idx="12"/>
          </p:nvPr>
        </p:nvSpPr>
        <p:spPr/>
        <p:txBody>
          <a:bodyPr/>
          <a:lstStyle/>
          <a:p>
            <a:fld id="{9F5BD61F-9C7B-4E41-A931-60B10B090C73}" type="slidenum">
              <a:rPr lang="en-GB" smtClean="0"/>
              <a:t>‹#›</a:t>
            </a:fld>
            <a:endParaRPr lang="en-GB"/>
          </a:p>
        </p:txBody>
      </p:sp>
    </p:spTree>
    <p:extLst>
      <p:ext uri="{BB962C8B-B14F-4D97-AF65-F5344CB8AC3E}">
        <p14:creationId xmlns:p14="http://schemas.microsoft.com/office/powerpoint/2010/main" val="65108260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E6483-6BB1-75D3-25FC-E38A27D8BD6D}"/>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4CE678F8-078F-9FC7-8DCB-097C5373D4DE}"/>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C764017C-108D-2464-D40F-69C84A48DC39}"/>
              </a:ext>
            </a:extLst>
          </p:cNvPr>
          <p:cNvSpPr>
            <a:spLocks noGrp="1"/>
          </p:cNvSpPr>
          <p:nvPr>
            <p:ph type="dt" sz="half" idx="10"/>
          </p:nvPr>
        </p:nvSpPr>
        <p:spPr/>
        <p:txBody>
          <a:bodyPr/>
          <a:lstStyle/>
          <a:p>
            <a:fld id="{2D1771C6-0EE6-432D-B16F-77701201C33E}" type="datetimeFigureOut">
              <a:rPr lang="en-GB" smtClean="0"/>
              <a:t>16/05/2023</a:t>
            </a:fld>
            <a:endParaRPr lang="en-GB"/>
          </a:p>
        </p:txBody>
      </p:sp>
      <p:sp>
        <p:nvSpPr>
          <p:cNvPr id="5" name="Footer Placeholder 4">
            <a:extLst>
              <a:ext uri="{FF2B5EF4-FFF2-40B4-BE49-F238E27FC236}">
                <a16:creationId xmlns:a16="http://schemas.microsoft.com/office/drawing/2014/main" id="{1298D3E6-1215-3394-9F60-E521C5B7778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4D38655-1D1B-B07C-6935-5AC69DBE484E}"/>
              </a:ext>
            </a:extLst>
          </p:cNvPr>
          <p:cNvSpPr>
            <a:spLocks noGrp="1"/>
          </p:cNvSpPr>
          <p:nvPr>
            <p:ph type="sldNum" sz="quarter" idx="12"/>
          </p:nvPr>
        </p:nvSpPr>
        <p:spPr/>
        <p:txBody>
          <a:bodyPr/>
          <a:lstStyle/>
          <a:p>
            <a:fld id="{9F5BD61F-9C7B-4E41-A931-60B10B090C73}" type="slidenum">
              <a:rPr lang="en-GB" smtClean="0"/>
              <a:t>‹#›</a:t>
            </a:fld>
            <a:endParaRPr lang="en-GB"/>
          </a:p>
        </p:txBody>
      </p:sp>
    </p:spTree>
    <p:extLst>
      <p:ext uri="{BB962C8B-B14F-4D97-AF65-F5344CB8AC3E}">
        <p14:creationId xmlns:p14="http://schemas.microsoft.com/office/powerpoint/2010/main" val="31356002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2C33AE2-E301-74F4-333D-E26919F957FC}"/>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EC9D725E-FFBA-2EB3-24B0-D885A77E3142}"/>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88CDE52F-2DEC-1169-6DC7-B4F77517E562}"/>
              </a:ext>
            </a:extLst>
          </p:cNvPr>
          <p:cNvSpPr>
            <a:spLocks noGrp="1"/>
          </p:cNvSpPr>
          <p:nvPr>
            <p:ph type="dt" sz="half" idx="10"/>
          </p:nvPr>
        </p:nvSpPr>
        <p:spPr/>
        <p:txBody>
          <a:bodyPr/>
          <a:lstStyle/>
          <a:p>
            <a:fld id="{2D1771C6-0EE6-432D-B16F-77701201C33E}" type="datetimeFigureOut">
              <a:rPr lang="en-GB" smtClean="0"/>
              <a:t>16/05/2023</a:t>
            </a:fld>
            <a:endParaRPr lang="en-GB"/>
          </a:p>
        </p:txBody>
      </p:sp>
      <p:sp>
        <p:nvSpPr>
          <p:cNvPr id="5" name="Footer Placeholder 4">
            <a:extLst>
              <a:ext uri="{FF2B5EF4-FFF2-40B4-BE49-F238E27FC236}">
                <a16:creationId xmlns:a16="http://schemas.microsoft.com/office/drawing/2014/main" id="{66C00829-4AAB-3A0E-3873-825BDBBB96A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7BF6520-CAB1-FF66-0300-DAFC243DF63E}"/>
              </a:ext>
            </a:extLst>
          </p:cNvPr>
          <p:cNvSpPr>
            <a:spLocks noGrp="1"/>
          </p:cNvSpPr>
          <p:nvPr>
            <p:ph type="sldNum" sz="quarter" idx="12"/>
          </p:nvPr>
        </p:nvSpPr>
        <p:spPr/>
        <p:txBody>
          <a:bodyPr/>
          <a:lstStyle/>
          <a:p>
            <a:fld id="{9F5BD61F-9C7B-4E41-A931-60B10B090C73}" type="slidenum">
              <a:rPr lang="en-GB" smtClean="0"/>
              <a:t>‹#›</a:t>
            </a:fld>
            <a:endParaRPr lang="en-GB"/>
          </a:p>
        </p:txBody>
      </p:sp>
    </p:spTree>
    <p:extLst>
      <p:ext uri="{BB962C8B-B14F-4D97-AF65-F5344CB8AC3E}">
        <p14:creationId xmlns:p14="http://schemas.microsoft.com/office/powerpoint/2010/main" val="30767805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With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572AA-7B94-466A-819B-0DF874906FF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B1CC39-DC22-463C-AFBE-F14E3D18803E}"/>
              </a:ext>
            </a:extLst>
          </p:cNvPr>
          <p:cNvSpPr>
            <a:spLocks noGrp="1"/>
          </p:cNvSpPr>
          <p:nvPr>
            <p:ph sz="half" idx="1"/>
          </p:nvPr>
        </p:nvSpPr>
        <p:spPr>
          <a:xfrm>
            <a:off x="600076" y="1825625"/>
            <a:ext cx="5419724"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2394394-FFFB-4C4B-8451-131F25866D7C}"/>
              </a:ext>
            </a:extLst>
          </p:cNvPr>
          <p:cNvSpPr>
            <a:spLocks noGrp="1"/>
          </p:cNvSpPr>
          <p:nvPr>
            <p:ph sz="half" idx="2"/>
          </p:nvPr>
        </p:nvSpPr>
        <p:spPr>
          <a:xfrm>
            <a:off x="6172199" y="1825625"/>
            <a:ext cx="5419723"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B5B35F57-BB40-433E-930E-BCFCF40A8BA5}"/>
              </a:ext>
            </a:extLst>
          </p:cNvPr>
          <p:cNvSpPr>
            <a:spLocks noGrp="1"/>
          </p:cNvSpPr>
          <p:nvPr>
            <p:ph type="sldNum" sz="quarter" idx="16"/>
          </p:nvPr>
        </p:nvSpPr>
        <p:spPr>
          <a:xfrm>
            <a:off x="8984673" y="6356350"/>
            <a:ext cx="2743200" cy="365125"/>
          </a:xfrm>
          <a:prstGeom prst="rect">
            <a:avLst/>
          </a:prstGeom>
        </p:spPr>
        <p:txBody>
          <a:bodyPr/>
          <a:lstStyle/>
          <a:p>
            <a:fld id="{98A0C587-F233-4E5E-858E-FB1E8E13E555}" type="slidenum">
              <a:rPr lang="en-US" smtClean="0"/>
              <a:t>‹#›</a:t>
            </a:fld>
            <a:endParaRPr lang="en-US"/>
          </a:p>
        </p:txBody>
      </p:sp>
      <p:sp>
        <p:nvSpPr>
          <p:cNvPr id="11" name="Content Placeholder 2">
            <a:extLst>
              <a:ext uri="{FF2B5EF4-FFF2-40B4-BE49-F238E27FC236}">
                <a16:creationId xmlns:a16="http://schemas.microsoft.com/office/drawing/2014/main" id="{5C8F78F0-D99A-4776-A24D-1B9830156944}"/>
              </a:ext>
            </a:extLst>
          </p:cNvPr>
          <p:cNvSpPr>
            <a:spLocks noGrp="1"/>
          </p:cNvSpPr>
          <p:nvPr>
            <p:ph sz="half" idx="17" hasCustomPrompt="1"/>
          </p:nvPr>
        </p:nvSpPr>
        <p:spPr>
          <a:xfrm>
            <a:off x="600076" y="1260043"/>
            <a:ext cx="10991850" cy="365125"/>
          </a:xfrm>
          <a:prstGeom prst="rect">
            <a:avLst/>
          </a:prstGeom>
        </p:spPr>
        <p:txBody>
          <a:bodyPr/>
          <a:lstStyle>
            <a:lvl1pPr marL="0" indent="0" algn="l">
              <a:buNone/>
              <a:defRPr sz="2000" b="0" i="0" spc="0">
                <a:solidFill>
                  <a:srgbClr val="00175A"/>
                </a:solidFill>
                <a:latin typeface="BentonSans Bold" panose="02000503000000020004" pitchFamily="2" charset="0"/>
              </a:defRPr>
            </a:lvl1pPr>
          </a:lstStyle>
          <a:p>
            <a:pPr lvl="0"/>
            <a:r>
              <a:rPr lang="en-US"/>
              <a:t>HEADER</a:t>
            </a:r>
          </a:p>
        </p:txBody>
      </p:sp>
    </p:spTree>
    <p:extLst>
      <p:ext uri="{BB962C8B-B14F-4D97-AF65-F5344CB8AC3E}">
        <p14:creationId xmlns:p14="http://schemas.microsoft.com/office/powerpoint/2010/main" val="30096132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lumn without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572AA-7B94-466A-819B-0DF874906FF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B1CC39-DC22-463C-AFBE-F14E3D18803E}"/>
              </a:ext>
            </a:extLst>
          </p:cNvPr>
          <p:cNvSpPr>
            <a:spLocks noGrp="1"/>
          </p:cNvSpPr>
          <p:nvPr>
            <p:ph sz="half" idx="1"/>
          </p:nvPr>
        </p:nvSpPr>
        <p:spPr>
          <a:xfrm>
            <a:off x="600076" y="1409700"/>
            <a:ext cx="5419724" cy="4767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2394394-FFFB-4C4B-8451-131F25866D7C}"/>
              </a:ext>
            </a:extLst>
          </p:cNvPr>
          <p:cNvSpPr>
            <a:spLocks noGrp="1"/>
          </p:cNvSpPr>
          <p:nvPr>
            <p:ph sz="half" idx="2"/>
          </p:nvPr>
        </p:nvSpPr>
        <p:spPr>
          <a:xfrm>
            <a:off x="6172199" y="1409700"/>
            <a:ext cx="5419723" cy="4767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B5B35F57-BB40-433E-930E-BCFCF40A8BA5}"/>
              </a:ext>
            </a:extLst>
          </p:cNvPr>
          <p:cNvSpPr>
            <a:spLocks noGrp="1"/>
          </p:cNvSpPr>
          <p:nvPr>
            <p:ph type="sldNum" sz="quarter" idx="16"/>
          </p:nvPr>
        </p:nvSpPr>
        <p:spPr>
          <a:xfrm>
            <a:off x="8984673" y="6356350"/>
            <a:ext cx="2743200" cy="365125"/>
          </a:xfrm>
          <a:prstGeom prst="rect">
            <a:avLst/>
          </a:prstGeom>
        </p:spPr>
        <p:txBody>
          <a:bodyPr/>
          <a:lstStyle/>
          <a:p>
            <a:fld id="{98A0C587-F233-4E5E-858E-FB1E8E13E555}" type="slidenum">
              <a:rPr lang="en-US" smtClean="0"/>
              <a:t>‹#›</a:t>
            </a:fld>
            <a:endParaRPr lang="en-US"/>
          </a:p>
        </p:txBody>
      </p:sp>
    </p:spTree>
    <p:extLst>
      <p:ext uri="{BB962C8B-B14F-4D97-AF65-F5344CB8AC3E}">
        <p14:creationId xmlns:p14="http://schemas.microsoft.com/office/powerpoint/2010/main" val="1731880163"/>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82CC2A-D4DF-4FF5-9B39-AB9CBC2A01D0}"/>
              </a:ext>
            </a:extLst>
          </p:cNvPr>
          <p:cNvSpPr>
            <a:spLocks noGrp="1"/>
          </p:cNvSpPr>
          <p:nvPr>
            <p:ph type="title"/>
          </p:nvPr>
        </p:nvSpPr>
        <p:spPr/>
        <p:txBody>
          <a:bodyPr/>
          <a:lstStyle/>
          <a:p>
            <a:r>
              <a:rPr lang="en-US"/>
              <a:t>Click to edit Master title style</a:t>
            </a:r>
          </a:p>
        </p:txBody>
      </p:sp>
      <p:graphicFrame>
        <p:nvGraphicFramePr>
          <p:cNvPr id="6" name="Chart 5">
            <a:extLst>
              <a:ext uri="{FF2B5EF4-FFF2-40B4-BE49-F238E27FC236}">
                <a16:creationId xmlns:a16="http://schemas.microsoft.com/office/drawing/2014/main" id="{523C2B04-F56E-49D1-8CF6-9B6203D7AC82}"/>
              </a:ext>
            </a:extLst>
          </p:cNvPr>
          <p:cNvGraphicFramePr/>
          <p:nvPr>
            <p:extLst>
              <p:ext uri="{D42A27DB-BD31-4B8C-83A1-F6EECF244321}">
                <p14:modId xmlns:p14="http://schemas.microsoft.com/office/powerpoint/2010/main" val="4089613088"/>
              </p:ext>
            </p:extLst>
          </p:nvPr>
        </p:nvGraphicFramePr>
        <p:xfrm>
          <a:off x="990599" y="2065846"/>
          <a:ext cx="10515599" cy="4189218"/>
        </p:xfrm>
        <a:graphic>
          <a:graphicData uri="http://schemas.openxmlformats.org/drawingml/2006/chart">
            <c:chart xmlns:c="http://schemas.openxmlformats.org/drawingml/2006/chart" xmlns:r="http://schemas.openxmlformats.org/officeDocument/2006/relationships" r:id="rId2"/>
          </a:graphicData>
        </a:graphic>
      </p:graphicFrame>
      <p:sp>
        <p:nvSpPr>
          <p:cNvPr id="7" name="Content Placeholder 2">
            <a:extLst>
              <a:ext uri="{FF2B5EF4-FFF2-40B4-BE49-F238E27FC236}">
                <a16:creationId xmlns:a16="http://schemas.microsoft.com/office/drawing/2014/main" id="{0ACC2E86-0582-4AE3-87BC-D0EC3B7FCBA8}"/>
              </a:ext>
            </a:extLst>
          </p:cNvPr>
          <p:cNvSpPr>
            <a:spLocks noGrp="1"/>
          </p:cNvSpPr>
          <p:nvPr>
            <p:ph sz="half" idx="1" hasCustomPrompt="1"/>
          </p:nvPr>
        </p:nvSpPr>
        <p:spPr>
          <a:xfrm>
            <a:off x="600076" y="1497013"/>
            <a:ext cx="10991850" cy="293687"/>
          </a:xfrm>
          <a:prstGeom prst="rect">
            <a:avLst/>
          </a:prstGeom>
        </p:spPr>
        <p:txBody>
          <a:bodyPr/>
          <a:lstStyle>
            <a:lvl1pPr algn="ctr">
              <a:buNone/>
              <a:defRPr sz="2000" b="0" i="0" spc="300">
                <a:solidFill>
                  <a:srgbClr val="00175A"/>
                </a:solidFill>
                <a:latin typeface="BentonSans Bold" panose="02000503000000020004" pitchFamily="2" charset="0"/>
              </a:defRPr>
            </a:lvl1pPr>
          </a:lstStyle>
          <a:p>
            <a:pPr lvl="0"/>
            <a:r>
              <a:rPr lang="en-US"/>
              <a:t>SUBHEADER</a:t>
            </a:r>
          </a:p>
        </p:txBody>
      </p:sp>
      <p:sp>
        <p:nvSpPr>
          <p:cNvPr id="8" name="Slide Number Placeholder 5">
            <a:extLst>
              <a:ext uri="{FF2B5EF4-FFF2-40B4-BE49-F238E27FC236}">
                <a16:creationId xmlns:a16="http://schemas.microsoft.com/office/drawing/2014/main" id="{5E8FDBBA-7C72-446D-A02F-7798A4120413}"/>
              </a:ext>
            </a:extLst>
          </p:cNvPr>
          <p:cNvSpPr>
            <a:spLocks noGrp="1"/>
          </p:cNvSpPr>
          <p:nvPr>
            <p:ph type="sldNum" sz="quarter" idx="16"/>
          </p:nvPr>
        </p:nvSpPr>
        <p:spPr>
          <a:xfrm>
            <a:off x="8984673" y="6356350"/>
            <a:ext cx="2743200" cy="365125"/>
          </a:xfrm>
          <a:prstGeom prst="rect">
            <a:avLst/>
          </a:prstGeom>
        </p:spPr>
        <p:txBody>
          <a:bodyPr/>
          <a:lstStyle/>
          <a:p>
            <a:fld id="{98A0C587-F233-4E5E-858E-FB1E8E13E555}" type="slidenum">
              <a:rPr lang="en-US" smtClean="0"/>
              <a:t>‹#›</a:t>
            </a:fld>
            <a:endParaRPr lang="en-US"/>
          </a:p>
        </p:txBody>
      </p:sp>
    </p:spTree>
    <p:extLst>
      <p:ext uri="{BB962C8B-B14F-4D97-AF65-F5344CB8AC3E}">
        <p14:creationId xmlns:p14="http://schemas.microsoft.com/office/powerpoint/2010/main" val="31360354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9" Type="http://schemas.openxmlformats.org/officeDocument/2006/relationships/image" Target="../media/image8.png"/><Relationship Id="rId3" Type="http://schemas.openxmlformats.org/officeDocument/2006/relationships/slideLayout" Target="../slideLayouts/slideLayout19.xml"/><Relationship Id="rId21" Type="http://schemas.openxmlformats.org/officeDocument/2006/relationships/slideLayout" Target="../slideLayouts/slideLayout37.xml"/><Relationship Id="rId34" Type="http://schemas.openxmlformats.org/officeDocument/2006/relationships/slideLayout" Target="../slideLayouts/slideLayout50.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slideLayout" Target="../slideLayouts/slideLayout49.xml"/><Relationship Id="rId38" Type="http://schemas.openxmlformats.org/officeDocument/2006/relationships/image" Target="../media/image7.emf"/><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29" Type="http://schemas.openxmlformats.org/officeDocument/2006/relationships/slideLayout" Target="../slideLayouts/slideLayout45.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slideLayout" Target="../slideLayouts/slideLayout48.xml"/><Relationship Id="rId37" Type="http://schemas.openxmlformats.org/officeDocument/2006/relationships/oleObject" Target="../embeddings/oleObject1.bin"/><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36" Type="http://schemas.openxmlformats.org/officeDocument/2006/relationships/tags" Target="../tags/tag1.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31" Type="http://schemas.openxmlformats.org/officeDocument/2006/relationships/slideLayout" Target="../slideLayouts/slideLayout47.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 Id="rId35"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53.xml"/><Relationship Id="rId7" Type="http://schemas.openxmlformats.org/officeDocument/2006/relationships/image" Target="../media/image20.png"/><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heme" Target="../theme/theme3.xml"/><Relationship Id="rId5" Type="http://schemas.openxmlformats.org/officeDocument/2006/relationships/slideLayout" Target="../slideLayouts/slideLayout55.xml"/><Relationship Id="rId4"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4.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F188317-AA1C-4F04-963D-C2FF3625AF1A}"/>
              </a:ext>
            </a:extLst>
          </p:cNvPr>
          <p:cNvSpPr>
            <a:spLocks noGrp="1"/>
          </p:cNvSpPr>
          <p:nvPr>
            <p:ph type="title"/>
          </p:nvPr>
        </p:nvSpPr>
        <p:spPr>
          <a:xfrm>
            <a:off x="600076" y="269875"/>
            <a:ext cx="10991850" cy="87312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A7646D1-A525-4F82-9B2A-BF7B1C35B1F2}"/>
              </a:ext>
            </a:extLst>
          </p:cNvPr>
          <p:cNvSpPr>
            <a:spLocks noGrp="1"/>
          </p:cNvSpPr>
          <p:nvPr>
            <p:ph type="body" idx="1"/>
          </p:nvPr>
        </p:nvSpPr>
        <p:spPr>
          <a:xfrm>
            <a:off x="600076" y="1476375"/>
            <a:ext cx="10991850" cy="470058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423DA26-510B-46BA-B3E0-83B3DECF6BD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rgbClr val="0070C0"/>
                </a:solidFill>
              </a:defRPr>
            </a:lvl1pPr>
          </a:lstStyle>
          <a:p>
            <a:fld id="{98A0C587-F233-4E5E-858E-FB1E8E13E555}" type="slidenum">
              <a:rPr lang="en-US" smtClean="0"/>
              <a:t>‹#›</a:t>
            </a:fld>
            <a:endParaRPr lang="en-US"/>
          </a:p>
        </p:txBody>
      </p:sp>
    </p:spTree>
    <p:extLst>
      <p:ext uri="{BB962C8B-B14F-4D97-AF65-F5344CB8AC3E}">
        <p14:creationId xmlns:p14="http://schemas.microsoft.com/office/powerpoint/2010/main" val="3494656411"/>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Lst>
  <p:hf sldNum="0" hdr="0"/>
  <p:txStyles>
    <p:titleStyle>
      <a:lvl1pPr algn="l" defTabSz="914400" rtl="0" eaLnBrk="1" latinLnBrk="0" hangingPunct="1">
        <a:lnSpc>
          <a:spcPct val="90000"/>
        </a:lnSpc>
        <a:spcBef>
          <a:spcPct val="0"/>
        </a:spcBef>
        <a:buNone/>
        <a:defRPr sz="360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6"/>
            </p:custDataLst>
            <p:extLst>
              <p:ext uri="{D42A27DB-BD31-4B8C-83A1-F6EECF244321}">
                <p14:modId xmlns:p14="http://schemas.microsoft.com/office/powerpoint/2010/main" val="2730263736"/>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4" name="Object 3" hidden="1"/>
                      <p:cNvPicPr/>
                      <p:nvPr/>
                    </p:nvPicPr>
                    <p:blipFill>
                      <a:blip r:embed="rId38"/>
                      <a:stretch>
                        <a:fillRect/>
                      </a:stretch>
                    </p:blipFill>
                    <p:spPr>
                      <a:xfrm>
                        <a:off x="2118" y="2118"/>
                        <a:ext cx="2116" cy="2116"/>
                      </a:xfrm>
                      <a:prstGeom prst="rect">
                        <a:avLst/>
                      </a:prstGeom>
                    </p:spPr>
                  </p:pic>
                </p:oleObj>
              </mc:Fallback>
            </mc:AlternateContent>
          </a:graphicData>
        </a:graphic>
      </p:graphicFrame>
      <p:sp>
        <p:nvSpPr>
          <p:cNvPr id="9" name="Freeform 8">
            <a:extLst>
              <a:ext uri="{FF2B5EF4-FFF2-40B4-BE49-F238E27FC236}">
                <a16:creationId xmlns:a16="http://schemas.microsoft.com/office/drawing/2014/main" id="{E4BB1FAD-9694-0C46-BC4D-8ADFA81F1051}"/>
              </a:ext>
            </a:extLst>
          </p:cNvPr>
          <p:cNvSpPr>
            <a:spLocks noChangeAspect="1" noEditPoints="1"/>
          </p:cNvSpPr>
          <p:nvPr userDrawn="1"/>
        </p:nvSpPr>
        <p:spPr bwMode="hidden">
          <a:xfrm>
            <a:off x="6386282" y="5240867"/>
            <a:ext cx="5647267" cy="1617133"/>
          </a:xfrm>
          <a:custGeom>
            <a:avLst/>
            <a:gdLst>
              <a:gd name="T0" fmla="*/ 1026 w 8880"/>
              <a:gd name="T1" fmla="*/ 2537 h 2537"/>
              <a:gd name="T2" fmla="*/ 3177 w 8880"/>
              <a:gd name="T3" fmla="*/ 2109 h 2537"/>
              <a:gd name="T4" fmla="*/ 5328 w 8880"/>
              <a:gd name="T5" fmla="*/ 2537 h 2537"/>
              <a:gd name="T6" fmla="*/ 1026 w 8880"/>
              <a:gd name="T7" fmla="*/ 2537 h 2537"/>
              <a:gd name="T8" fmla="*/ 551 w 8880"/>
              <a:gd name="T9" fmla="*/ 2537 h 2537"/>
              <a:gd name="T10" fmla="*/ 5803 w 8880"/>
              <a:gd name="T11" fmla="*/ 2537 h 2537"/>
              <a:gd name="T12" fmla="*/ 5126 w 8880"/>
              <a:gd name="T13" fmla="*/ 2193 h 2537"/>
              <a:gd name="T14" fmla="*/ 5819 w 8880"/>
              <a:gd name="T15" fmla="*/ 2312 h 2537"/>
              <a:gd name="T16" fmla="*/ 6076 w 8880"/>
              <a:gd name="T17" fmla="*/ 2292 h 2537"/>
              <a:gd name="T18" fmla="*/ 6885 w 8880"/>
              <a:gd name="T19" fmla="*/ 2134 h 2537"/>
              <a:gd name="T20" fmla="*/ 7084 w 8880"/>
              <a:gd name="T21" fmla="*/ 2023 h 2537"/>
              <a:gd name="T22" fmla="*/ 7328 w 8880"/>
              <a:gd name="T23" fmla="*/ 1658 h 2537"/>
              <a:gd name="T24" fmla="*/ 7967 w 8880"/>
              <a:gd name="T25" fmla="*/ 1152 h 2537"/>
              <a:gd name="T26" fmla="*/ 7308 w 8880"/>
              <a:gd name="T27" fmla="*/ 767 h 2537"/>
              <a:gd name="T28" fmla="*/ 8655 w 8880"/>
              <a:gd name="T29" fmla="*/ 767 h 2537"/>
              <a:gd name="T30" fmla="*/ 7358 w 8880"/>
              <a:gd name="T31" fmla="*/ 2537 h 2537"/>
              <a:gd name="T32" fmla="*/ 8779 w 8880"/>
              <a:gd name="T33" fmla="*/ 2537 h 2537"/>
              <a:gd name="T34" fmla="*/ 8531 w 8880"/>
              <a:gd name="T35" fmla="*/ 1602 h 2537"/>
              <a:gd name="T36" fmla="*/ 8750 w 8880"/>
              <a:gd name="T37" fmla="*/ 767 h 2537"/>
              <a:gd name="T38" fmla="*/ 8750 w 8880"/>
              <a:gd name="T39" fmla="*/ 766 h 2537"/>
              <a:gd name="T40" fmla="*/ 7214 w 8880"/>
              <a:gd name="T41" fmla="*/ 767 h 2537"/>
              <a:gd name="T42" fmla="*/ 7328 w 8880"/>
              <a:gd name="T43" fmla="*/ 1564 h 2537"/>
              <a:gd name="T44" fmla="*/ 6553 w 8880"/>
              <a:gd name="T45" fmla="*/ 1470 h 2537"/>
              <a:gd name="T46" fmla="*/ 6728 w 8880"/>
              <a:gd name="T47" fmla="*/ 2030 h 2537"/>
              <a:gd name="T48" fmla="*/ 5637 w 8880"/>
              <a:gd name="T49" fmla="*/ 1694 h 2537"/>
              <a:gd name="T50" fmla="*/ 5695 w 8880"/>
              <a:gd name="T51" fmla="*/ 2144 h 2537"/>
              <a:gd name="T52" fmla="*/ 4646 w 8880"/>
              <a:gd name="T53" fmla="*/ 1410 h 2537"/>
              <a:gd name="T54" fmla="*/ 4777 w 8880"/>
              <a:gd name="T55" fmla="*/ 2054 h 2537"/>
              <a:gd name="T56" fmla="*/ 1225 w 8880"/>
              <a:gd name="T57" fmla="*/ 2195 h 2537"/>
              <a:gd name="T58" fmla="*/ 551 w 8880"/>
              <a:gd name="T59" fmla="*/ 2537 h 2537"/>
              <a:gd name="T60" fmla="*/ 4950 w 8880"/>
              <a:gd name="T61" fmla="*/ 1685 h 2537"/>
              <a:gd name="T62" fmla="*/ 4844 w 8880"/>
              <a:gd name="T63" fmla="*/ 1675 h 2537"/>
              <a:gd name="T64" fmla="*/ 5166 w 8880"/>
              <a:gd name="T65" fmla="*/ 2095 h 2537"/>
              <a:gd name="T66" fmla="*/ 4950 w 8880"/>
              <a:gd name="T67" fmla="*/ 1685 h 2537"/>
              <a:gd name="T68" fmla="*/ 6017 w 8880"/>
              <a:gd name="T69" fmla="*/ 1963 h 2537"/>
              <a:gd name="T70" fmla="*/ 5831 w 8880"/>
              <a:gd name="T71" fmla="*/ 1893 h 2537"/>
              <a:gd name="T72" fmla="*/ 5952 w 8880"/>
              <a:gd name="T73" fmla="*/ 2032 h 2537"/>
              <a:gd name="T74" fmla="*/ 8509 w 8880"/>
              <a:gd name="T75" fmla="*/ 766 h 2537"/>
              <a:gd name="T76" fmla="*/ 7454 w 8880"/>
              <a:gd name="T77" fmla="*/ 767 h 2537"/>
              <a:gd name="T78" fmla="*/ 8029 w 8880"/>
              <a:gd name="T79" fmla="*/ 767 h 2537"/>
              <a:gd name="T80" fmla="*/ 7934 w 8880"/>
              <a:gd name="T81" fmla="*/ 719 h 2537"/>
              <a:gd name="T82" fmla="*/ 7741 w 8880"/>
              <a:gd name="T83" fmla="*/ 959 h 2537"/>
              <a:gd name="T84" fmla="*/ 7982 w 8880"/>
              <a:gd name="T85" fmla="*/ 333 h 2537"/>
              <a:gd name="T86" fmla="*/ 7434 w 8880"/>
              <a:gd name="T87" fmla="*/ 2173 h 2537"/>
              <a:gd name="T88" fmla="*/ 7767 w 8880"/>
              <a:gd name="T89" fmla="*/ 1646 h 2537"/>
              <a:gd name="T90" fmla="*/ 6788 w 8880"/>
              <a:gd name="T91" fmla="*/ 1670 h 2537"/>
              <a:gd name="T92" fmla="*/ 6782 w 8880"/>
              <a:gd name="T93" fmla="*/ 1775 h 2537"/>
              <a:gd name="T94" fmla="*/ 8269 w 8880"/>
              <a:gd name="T95" fmla="*/ 767 h 2537"/>
              <a:gd name="T96" fmla="*/ 7694 w 8880"/>
              <a:gd name="T97" fmla="*/ 767 h 2537"/>
              <a:gd name="T98" fmla="*/ 7789 w 8880"/>
              <a:gd name="T99" fmla="*/ 814 h 2537"/>
              <a:gd name="T100" fmla="*/ 7982 w 8880"/>
              <a:gd name="T101" fmla="*/ 574 h 2537"/>
              <a:gd name="T102" fmla="*/ 7767 w 8880"/>
              <a:gd name="T103" fmla="*/ 1646 h 2537"/>
              <a:gd name="T104" fmla="*/ 1668 w 8880"/>
              <a:gd name="T105" fmla="*/ 2537 h 2537"/>
              <a:gd name="T106" fmla="*/ 3177 w 8880"/>
              <a:gd name="T107" fmla="*/ 2349 h 2537"/>
              <a:gd name="T108" fmla="*/ 4686 w 8880"/>
              <a:gd name="T109" fmla="*/ 2537 h 2537"/>
              <a:gd name="T110" fmla="*/ 1668 w 8880"/>
              <a:gd name="T111" fmla="*/ 2537 h 2537"/>
              <a:gd name="T112" fmla="*/ 8317 w 8880"/>
              <a:gd name="T113" fmla="*/ 2129 h 2537"/>
              <a:gd name="T114" fmla="*/ 8383 w 8880"/>
              <a:gd name="T115" fmla="*/ 2537 h 2537"/>
              <a:gd name="T116" fmla="*/ 7946 w 8880"/>
              <a:gd name="T117" fmla="*/ 2537 h 2537"/>
              <a:gd name="T118" fmla="*/ 8317 w 8880"/>
              <a:gd name="T119" fmla="*/ 2129 h 2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80" h="2537">
                <a:moveTo>
                  <a:pt x="1026" y="2537"/>
                </a:moveTo>
                <a:lnTo>
                  <a:pt x="1026" y="2537"/>
                </a:lnTo>
                <a:lnTo>
                  <a:pt x="1280" y="2537"/>
                </a:lnTo>
                <a:cubicBezTo>
                  <a:pt x="1783" y="2330"/>
                  <a:pt x="2286" y="2109"/>
                  <a:pt x="3177" y="2109"/>
                </a:cubicBezTo>
                <a:cubicBezTo>
                  <a:pt x="4068" y="2109"/>
                  <a:pt x="4571" y="2330"/>
                  <a:pt x="5074" y="2537"/>
                </a:cubicBezTo>
                <a:lnTo>
                  <a:pt x="5328" y="2537"/>
                </a:lnTo>
                <a:cubicBezTo>
                  <a:pt x="4739" y="2310"/>
                  <a:pt x="4220" y="2014"/>
                  <a:pt x="3177" y="2014"/>
                </a:cubicBezTo>
                <a:cubicBezTo>
                  <a:pt x="2134" y="2014"/>
                  <a:pt x="1616" y="2310"/>
                  <a:pt x="1026" y="2537"/>
                </a:cubicBezTo>
                <a:close/>
                <a:moveTo>
                  <a:pt x="551" y="2537"/>
                </a:moveTo>
                <a:lnTo>
                  <a:pt x="551" y="2537"/>
                </a:lnTo>
                <a:cubicBezTo>
                  <a:pt x="1357" y="2323"/>
                  <a:pt x="1850" y="1865"/>
                  <a:pt x="3177" y="1865"/>
                </a:cubicBezTo>
                <a:cubicBezTo>
                  <a:pt x="4504" y="1865"/>
                  <a:pt x="4997" y="2323"/>
                  <a:pt x="5803" y="2537"/>
                </a:cubicBezTo>
                <a:lnTo>
                  <a:pt x="6355" y="2537"/>
                </a:lnTo>
                <a:cubicBezTo>
                  <a:pt x="5856" y="2494"/>
                  <a:pt x="5499" y="2347"/>
                  <a:pt x="5126" y="2193"/>
                </a:cubicBezTo>
                <a:cubicBezTo>
                  <a:pt x="4805" y="2061"/>
                  <a:pt x="4743" y="1856"/>
                  <a:pt x="4741" y="1506"/>
                </a:cubicBezTo>
                <a:cubicBezTo>
                  <a:pt x="5184" y="1543"/>
                  <a:pt x="5285" y="2106"/>
                  <a:pt x="5819" y="2312"/>
                </a:cubicBezTo>
                <a:cubicBezTo>
                  <a:pt x="5988" y="2382"/>
                  <a:pt x="6169" y="2413"/>
                  <a:pt x="6336" y="2426"/>
                </a:cubicBezTo>
                <a:cubicBezTo>
                  <a:pt x="6245" y="2391"/>
                  <a:pt x="6158" y="2346"/>
                  <a:pt x="6076" y="2292"/>
                </a:cubicBezTo>
                <a:cubicBezTo>
                  <a:pt x="5858" y="2243"/>
                  <a:pt x="5737" y="2200"/>
                  <a:pt x="5732" y="1790"/>
                </a:cubicBezTo>
                <a:cubicBezTo>
                  <a:pt x="6266" y="1807"/>
                  <a:pt x="6287" y="2134"/>
                  <a:pt x="6885" y="2134"/>
                </a:cubicBezTo>
                <a:cubicBezTo>
                  <a:pt x="7071" y="2134"/>
                  <a:pt x="7249" y="2097"/>
                  <a:pt x="7411" y="2031"/>
                </a:cubicBezTo>
                <a:cubicBezTo>
                  <a:pt x="7310" y="2043"/>
                  <a:pt x="7212" y="2044"/>
                  <a:pt x="7084" y="2023"/>
                </a:cubicBezTo>
                <a:cubicBezTo>
                  <a:pt x="6781" y="2069"/>
                  <a:pt x="6661" y="1870"/>
                  <a:pt x="6649" y="1565"/>
                </a:cubicBezTo>
                <a:cubicBezTo>
                  <a:pt x="6966" y="1573"/>
                  <a:pt x="7084" y="1658"/>
                  <a:pt x="7328" y="1658"/>
                </a:cubicBezTo>
                <a:cubicBezTo>
                  <a:pt x="7568" y="1658"/>
                  <a:pt x="7788" y="1505"/>
                  <a:pt x="7918" y="1249"/>
                </a:cubicBezTo>
                <a:lnTo>
                  <a:pt x="7967" y="1152"/>
                </a:lnTo>
                <a:lnTo>
                  <a:pt x="7862" y="1183"/>
                </a:lnTo>
                <a:cubicBezTo>
                  <a:pt x="7585" y="1263"/>
                  <a:pt x="7308" y="1054"/>
                  <a:pt x="7308" y="767"/>
                </a:cubicBezTo>
                <a:cubicBezTo>
                  <a:pt x="7308" y="395"/>
                  <a:pt x="7610" y="93"/>
                  <a:pt x="7982" y="93"/>
                </a:cubicBezTo>
                <a:cubicBezTo>
                  <a:pt x="8353" y="93"/>
                  <a:pt x="8655" y="395"/>
                  <a:pt x="8655" y="767"/>
                </a:cubicBezTo>
                <a:cubicBezTo>
                  <a:pt x="8655" y="1678"/>
                  <a:pt x="7887" y="2431"/>
                  <a:pt x="6900" y="2537"/>
                </a:cubicBezTo>
                <a:lnTo>
                  <a:pt x="7358" y="2537"/>
                </a:lnTo>
                <a:cubicBezTo>
                  <a:pt x="7828" y="2387"/>
                  <a:pt x="8221" y="2089"/>
                  <a:pt x="8468" y="1706"/>
                </a:cubicBezTo>
                <a:lnTo>
                  <a:pt x="8779" y="2537"/>
                </a:lnTo>
                <a:lnTo>
                  <a:pt x="8880" y="2537"/>
                </a:lnTo>
                <a:lnTo>
                  <a:pt x="8531" y="1602"/>
                </a:lnTo>
                <a:cubicBezTo>
                  <a:pt x="8670" y="1350"/>
                  <a:pt x="8749" y="1067"/>
                  <a:pt x="8750" y="767"/>
                </a:cubicBezTo>
                <a:lnTo>
                  <a:pt x="8750" y="767"/>
                </a:lnTo>
                <a:lnTo>
                  <a:pt x="8750" y="766"/>
                </a:lnTo>
                <a:lnTo>
                  <a:pt x="8750" y="766"/>
                </a:lnTo>
                <a:cubicBezTo>
                  <a:pt x="8749" y="343"/>
                  <a:pt x="8405" y="0"/>
                  <a:pt x="7982" y="0"/>
                </a:cubicBezTo>
                <a:cubicBezTo>
                  <a:pt x="7558" y="0"/>
                  <a:pt x="7214" y="343"/>
                  <a:pt x="7214" y="767"/>
                </a:cubicBezTo>
                <a:cubicBezTo>
                  <a:pt x="7214" y="1073"/>
                  <a:pt x="7475" y="1317"/>
                  <a:pt x="7783" y="1293"/>
                </a:cubicBezTo>
                <a:cubicBezTo>
                  <a:pt x="7669" y="1464"/>
                  <a:pt x="7504" y="1564"/>
                  <a:pt x="7328" y="1564"/>
                </a:cubicBezTo>
                <a:cubicBezTo>
                  <a:pt x="7089" y="1564"/>
                  <a:pt x="6965" y="1470"/>
                  <a:pt x="6600" y="1470"/>
                </a:cubicBezTo>
                <a:lnTo>
                  <a:pt x="6553" y="1470"/>
                </a:lnTo>
                <a:lnTo>
                  <a:pt x="6553" y="1517"/>
                </a:lnTo>
                <a:cubicBezTo>
                  <a:pt x="6553" y="1752"/>
                  <a:pt x="6614" y="1929"/>
                  <a:pt x="6728" y="2030"/>
                </a:cubicBezTo>
                <a:cubicBezTo>
                  <a:pt x="6299" y="1976"/>
                  <a:pt x="6239" y="1694"/>
                  <a:pt x="5684" y="1694"/>
                </a:cubicBezTo>
                <a:lnTo>
                  <a:pt x="5637" y="1694"/>
                </a:lnTo>
                <a:lnTo>
                  <a:pt x="5637" y="1742"/>
                </a:lnTo>
                <a:cubicBezTo>
                  <a:pt x="5637" y="1885"/>
                  <a:pt x="5644" y="2029"/>
                  <a:pt x="5695" y="2144"/>
                </a:cubicBezTo>
                <a:cubicBezTo>
                  <a:pt x="5303" y="1896"/>
                  <a:pt x="5177" y="1410"/>
                  <a:pt x="4693" y="1410"/>
                </a:cubicBezTo>
                <a:lnTo>
                  <a:pt x="4646" y="1410"/>
                </a:lnTo>
                <a:lnTo>
                  <a:pt x="4646" y="1457"/>
                </a:lnTo>
                <a:cubicBezTo>
                  <a:pt x="4646" y="1642"/>
                  <a:pt x="4647" y="1873"/>
                  <a:pt x="4777" y="2054"/>
                </a:cubicBezTo>
                <a:cubicBezTo>
                  <a:pt x="4366" y="1899"/>
                  <a:pt x="3892" y="1770"/>
                  <a:pt x="3177" y="1770"/>
                </a:cubicBezTo>
                <a:cubicBezTo>
                  <a:pt x="2252" y="1770"/>
                  <a:pt x="1730" y="1986"/>
                  <a:pt x="1225" y="2195"/>
                </a:cubicBezTo>
                <a:cubicBezTo>
                  <a:pt x="853" y="2348"/>
                  <a:pt x="498" y="2494"/>
                  <a:pt x="0" y="2537"/>
                </a:cubicBezTo>
                <a:lnTo>
                  <a:pt x="551" y="2537"/>
                </a:lnTo>
                <a:close/>
                <a:moveTo>
                  <a:pt x="4950" y="1685"/>
                </a:moveTo>
                <a:lnTo>
                  <a:pt x="4950" y="1685"/>
                </a:lnTo>
                <a:cubicBezTo>
                  <a:pt x="4915" y="1658"/>
                  <a:pt x="4879" y="1638"/>
                  <a:pt x="4839" y="1623"/>
                </a:cubicBezTo>
                <a:cubicBezTo>
                  <a:pt x="4841" y="1641"/>
                  <a:pt x="4842" y="1658"/>
                  <a:pt x="4844" y="1675"/>
                </a:cubicBezTo>
                <a:cubicBezTo>
                  <a:pt x="4906" y="1825"/>
                  <a:pt x="4997" y="1958"/>
                  <a:pt x="5110" y="2072"/>
                </a:cubicBezTo>
                <a:cubicBezTo>
                  <a:pt x="5128" y="2079"/>
                  <a:pt x="5148" y="2087"/>
                  <a:pt x="5166" y="2095"/>
                </a:cubicBezTo>
                <a:cubicBezTo>
                  <a:pt x="5255" y="2131"/>
                  <a:pt x="5343" y="2168"/>
                  <a:pt x="5432" y="2202"/>
                </a:cubicBezTo>
                <a:cubicBezTo>
                  <a:pt x="5223" y="2082"/>
                  <a:pt x="5052" y="1903"/>
                  <a:pt x="4950" y="1685"/>
                </a:cubicBezTo>
                <a:close/>
                <a:moveTo>
                  <a:pt x="6017" y="1963"/>
                </a:moveTo>
                <a:lnTo>
                  <a:pt x="6017" y="1963"/>
                </a:lnTo>
                <a:cubicBezTo>
                  <a:pt x="6008" y="1955"/>
                  <a:pt x="5995" y="1942"/>
                  <a:pt x="5981" y="1926"/>
                </a:cubicBezTo>
                <a:cubicBezTo>
                  <a:pt x="5936" y="1912"/>
                  <a:pt x="5888" y="1900"/>
                  <a:pt x="5831" y="1893"/>
                </a:cubicBezTo>
                <a:cubicBezTo>
                  <a:pt x="5831" y="1893"/>
                  <a:pt x="5831" y="1894"/>
                  <a:pt x="5831" y="1894"/>
                </a:cubicBezTo>
                <a:cubicBezTo>
                  <a:pt x="5882" y="1965"/>
                  <a:pt x="5942" y="2022"/>
                  <a:pt x="5952" y="2032"/>
                </a:cubicBezTo>
                <a:cubicBezTo>
                  <a:pt x="6348" y="2409"/>
                  <a:pt x="6915" y="2499"/>
                  <a:pt x="7471" y="2260"/>
                </a:cubicBezTo>
                <a:cubicBezTo>
                  <a:pt x="8092" y="1994"/>
                  <a:pt x="8509" y="1394"/>
                  <a:pt x="8509" y="766"/>
                </a:cubicBezTo>
                <a:cubicBezTo>
                  <a:pt x="8509" y="476"/>
                  <a:pt x="8273" y="239"/>
                  <a:pt x="7982" y="239"/>
                </a:cubicBezTo>
                <a:cubicBezTo>
                  <a:pt x="7691" y="239"/>
                  <a:pt x="7454" y="476"/>
                  <a:pt x="7454" y="767"/>
                </a:cubicBezTo>
                <a:cubicBezTo>
                  <a:pt x="7454" y="925"/>
                  <a:pt x="7583" y="1054"/>
                  <a:pt x="7741" y="1054"/>
                </a:cubicBezTo>
                <a:cubicBezTo>
                  <a:pt x="7900" y="1054"/>
                  <a:pt x="8029" y="925"/>
                  <a:pt x="8029" y="767"/>
                </a:cubicBezTo>
                <a:lnTo>
                  <a:pt x="8029" y="719"/>
                </a:lnTo>
                <a:lnTo>
                  <a:pt x="7934" y="719"/>
                </a:lnTo>
                <a:lnTo>
                  <a:pt x="7934" y="767"/>
                </a:lnTo>
                <a:cubicBezTo>
                  <a:pt x="7934" y="873"/>
                  <a:pt x="7848" y="959"/>
                  <a:pt x="7741" y="959"/>
                </a:cubicBezTo>
                <a:cubicBezTo>
                  <a:pt x="7635" y="959"/>
                  <a:pt x="7548" y="873"/>
                  <a:pt x="7548" y="767"/>
                </a:cubicBezTo>
                <a:cubicBezTo>
                  <a:pt x="7548" y="528"/>
                  <a:pt x="7743" y="333"/>
                  <a:pt x="7982" y="333"/>
                </a:cubicBezTo>
                <a:cubicBezTo>
                  <a:pt x="8220" y="333"/>
                  <a:pt x="8415" y="528"/>
                  <a:pt x="8415" y="767"/>
                </a:cubicBezTo>
                <a:cubicBezTo>
                  <a:pt x="8415" y="1356"/>
                  <a:pt x="8021" y="1922"/>
                  <a:pt x="7434" y="2173"/>
                </a:cubicBezTo>
                <a:cubicBezTo>
                  <a:pt x="6918" y="2395"/>
                  <a:pt x="6389" y="2316"/>
                  <a:pt x="6017" y="1963"/>
                </a:cubicBezTo>
                <a:close/>
                <a:moveTo>
                  <a:pt x="7767" y="1646"/>
                </a:moveTo>
                <a:lnTo>
                  <a:pt x="7767" y="1646"/>
                </a:lnTo>
                <a:cubicBezTo>
                  <a:pt x="7417" y="1903"/>
                  <a:pt x="6998" y="1798"/>
                  <a:pt x="6788" y="1670"/>
                </a:cubicBezTo>
                <a:cubicBezTo>
                  <a:pt x="6776" y="1669"/>
                  <a:pt x="6765" y="1667"/>
                  <a:pt x="6753" y="1666"/>
                </a:cubicBezTo>
                <a:cubicBezTo>
                  <a:pt x="6760" y="1707"/>
                  <a:pt x="6769" y="1743"/>
                  <a:pt x="6782" y="1775"/>
                </a:cubicBezTo>
                <a:cubicBezTo>
                  <a:pt x="7085" y="1938"/>
                  <a:pt x="7503" y="1957"/>
                  <a:pt x="7823" y="1723"/>
                </a:cubicBezTo>
                <a:cubicBezTo>
                  <a:pt x="8102" y="1518"/>
                  <a:pt x="8269" y="1160"/>
                  <a:pt x="8269" y="767"/>
                </a:cubicBezTo>
                <a:cubicBezTo>
                  <a:pt x="8269" y="608"/>
                  <a:pt x="8140" y="479"/>
                  <a:pt x="7982" y="479"/>
                </a:cubicBezTo>
                <a:cubicBezTo>
                  <a:pt x="7823" y="479"/>
                  <a:pt x="7694" y="608"/>
                  <a:pt x="7694" y="767"/>
                </a:cubicBezTo>
                <a:lnTo>
                  <a:pt x="7694" y="814"/>
                </a:lnTo>
                <a:lnTo>
                  <a:pt x="7789" y="814"/>
                </a:lnTo>
                <a:lnTo>
                  <a:pt x="7789" y="767"/>
                </a:lnTo>
                <a:cubicBezTo>
                  <a:pt x="7789" y="660"/>
                  <a:pt x="7875" y="574"/>
                  <a:pt x="7982" y="574"/>
                </a:cubicBezTo>
                <a:cubicBezTo>
                  <a:pt x="8088" y="574"/>
                  <a:pt x="8174" y="660"/>
                  <a:pt x="8174" y="767"/>
                </a:cubicBezTo>
                <a:cubicBezTo>
                  <a:pt x="8174" y="1130"/>
                  <a:pt x="8022" y="1459"/>
                  <a:pt x="7767" y="1646"/>
                </a:cubicBezTo>
                <a:close/>
                <a:moveTo>
                  <a:pt x="1668" y="2537"/>
                </a:moveTo>
                <a:lnTo>
                  <a:pt x="1668" y="2537"/>
                </a:lnTo>
                <a:lnTo>
                  <a:pt x="1950" y="2537"/>
                </a:lnTo>
                <a:cubicBezTo>
                  <a:pt x="2282" y="2429"/>
                  <a:pt x="2664" y="2349"/>
                  <a:pt x="3177" y="2349"/>
                </a:cubicBezTo>
                <a:cubicBezTo>
                  <a:pt x="3690" y="2349"/>
                  <a:pt x="4072" y="2429"/>
                  <a:pt x="4404" y="2537"/>
                </a:cubicBezTo>
                <a:lnTo>
                  <a:pt x="4686" y="2537"/>
                </a:lnTo>
                <a:cubicBezTo>
                  <a:pt x="4288" y="2384"/>
                  <a:pt x="3842" y="2254"/>
                  <a:pt x="3177" y="2254"/>
                </a:cubicBezTo>
                <a:cubicBezTo>
                  <a:pt x="2512" y="2254"/>
                  <a:pt x="2067" y="2384"/>
                  <a:pt x="1668" y="2537"/>
                </a:cubicBezTo>
                <a:close/>
                <a:moveTo>
                  <a:pt x="8317" y="2129"/>
                </a:moveTo>
                <a:lnTo>
                  <a:pt x="8317" y="2129"/>
                </a:lnTo>
                <a:lnTo>
                  <a:pt x="8485" y="2537"/>
                </a:lnTo>
                <a:lnTo>
                  <a:pt x="8383" y="2537"/>
                </a:lnTo>
                <a:lnTo>
                  <a:pt x="8281" y="2291"/>
                </a:lnTo>
                <a:cubicBezTo>
                  <a:pt x="8177" y="2384"/>
                  <a:pt x="8065" y="2466"/>
                  <a:pt x="7946" y="2537"/>
                </a:cubicBezTo>
                <a:lnTo>
                  <a:pt x="7748" y="2537"/>
                </a:lnTo>
                <a:cubicBezTo>
                  <a:pt x="7947" y="2434"/>
                  <a:pt x="8137" y="2298"/>
                  <a:pt x="8317" y="2129"/>
                </a:cubicBezTo>
                <a:close/>
              </a:path>
            </a:pathLst>
          </a:custGeom>
          <a:solidFill>
            <a:srgbClr val="D9D9D6">
              <a:alpha val="25000"/>
            </a:srgbClr>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 name="Title Placeholder 1">
            <a:extLst>
              <a:ext uri="{FF2B5EF4-FFF2-40B4-BE49-F238E27FC236}">
                <a16:creationId xmlns:a16="http://schemas.microsoft.com/office/drawing/2014/main" id="{01808FED-0359-6A45-8A9C-E946B719C98E}"/>
              </a:ext>
            </a:extLst>
          </p:cNvPr>
          <p:cNvSpPr>
            <a:spLocks noGrp="1"/>
          </p:cNvSpPr>
          <p:nvPr>
            <p:ph type="title"/>
          </p:nvPr>
        </p:nvSpPr>
        <p:spPr>
          <a:xfrm>
            <a:off x="609600" y="548641"/>
            <a:ext cx="10972800" cy="911860"/>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8EFDB908-AC83-8040-9BEE-F0D0260AC877}"/>
              </a:ext>
            </a:extLst>
          </p:cNvPr>
          <p:cNvSpPr>
            <a:spLocks noGrp="1"/>
          </p:cNvSpPr>
          <p:nvPr>
            <p:ph type="body" idx="1"/>
          </p:nvPr>
        </p:nvSpPr>
        <p:spPr>
          <a:xfrm>
            <a:off x="609600" y="1645920"/>
            <a:ext cx="10972800" cy="4267200"/>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pic>
        <p:nvPicPr>
          <p:cNvPr id="8" name="Picture 7">
            <a:extLst>
              <a:ext uri="{FF2B5EF4-FFF2-40B4-BE49-F238E27FC236}">
                <a16:creationId xmlns:a16="http://schemas.microsoft.com/office/drawing/2014/main" id="{D5C5675D-01D1-814D-A9D6-08BC5C47C2BC}"/>
              </a:ext>
            </a:extLst>
          </p:cNvPr>
          <p:cNvPicPr>
            <a:picLocks noChangeAspect="1"/>
          </p:cNvPicPr>
          <p:nvPr userDrawn="1"/>
        </p:nvPicPr>
        <p:blipFill>
          <a:blip r:embed="rId39" cstate="email">
            <a:extLst>
              <a:ext uri="{28A0092B-C50C-407E-A947-70E740481C1C}">
                <a14:useLocalDpi xmlns:a14="http://schemas.microsoft.com/office/drawing/2010/main"/>
              </a:ext>
            </a:extLst>
          </a:blip>
          <a:stretch>
            <a:fillRect/>
          </a:stretch>
        </p:blipFill>
        <p:spPr>
          <a:xfrm>
            <a:off x="536232" y="6020140"/>
            <a:ext cx="609600" cy="609600"/>
          </a:xfrm>
          <a:prstGeom prst="rect">
            <a:avLst/>
          </a:prstGeom>
        </p:spPr>
      </p:pic>
    </p:spTree>
    <p:extLst>
      <p:ext uri="{BB962C8B-B14F-4D97-AF65-F5344CB8AC3E}">
        <p14:creationId xmlns:p14="http://schemas.microsoft.com/office/powerpoint/2010/main" val="1300516306"/>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377" rtl="0" eaLnBrk="1" latinLnBrk="0" hangingPunct="1">
        <a:lnSpc>
          <a:spcPct val="90000"/>
        </a:lnSpc>
        <a:spcBef>
          <a:spcPct val="0"/>
        </a:spcBef>
        <a:buNone/>
        <a:defRPr sz="3200" kern="1200" spc="-53" baseline="0">
          <a:solidFill>
            <a:schemeClr val="bg2"/>
          </a:solidFill>
          <a:latin typeface="+mj-lt"/>
          <a:ea typeface="+mj-ea"/>
          <a:cs typeface="+mj-cs"/>
        </a:defRPr>
      </a:lvl1pPr>
    </p:titleStyle>
    <p:bodyStyle>
      <a:lvl1pPr marL="228594" indent="-228594" algn="l" defTabSz="914377" rtl="0" eaLnBrk="1" latinLnBrk="0" hangingPunct="1">
        <a:lnSpc>
          <a:spcPct val="120000"/>
        </a:lnSpc>
        <a:spcBef>
          <a:spcPts val="1200"/>
        </a:spcBef>
        <a:buSzPct val="120000"/>
        <a:buFont typeface="Arial" panose="020B0604020202020204" pitchFamily="34" charset="0"/>
        <a:buChar char="▪"/>
        <a:defRPr sz="1600" kern="1200">
          <a:solidFill>
            <a:schemeClr val="tx1"/>
          </a:solidFill>
          <a:latin typeface="+mn-lt"/>
          <a:ea typeface="+mn-ea"/>
          <a:cs typeface="+mn-cs"/>
        </a:defRPr>
      </a:lvl1pPr>
      <a:lvl2pPr marL="463284" indent="-228594" algn="l" defTabSz="914377" rtl="0" eaLnBrk="1" latinLnBrk="0" hangingPunct="1">
        <a:lnSpc>
          <a:spcPct val="120000"/>
        </a:lnSpc>
        <a:spcBef>
          <a:spcPts val="400"/>
        </a:spcBef>
        <a:buFont typeface="Arial" panose="020B0604020202020204" pitchFamily="34" charset="0"/>
        <a:buChar char="–"/>
        <a:defRPr sz="1600" kern="1200">
          <a:solidFill>
            <a:schemeClr val="tx1"/>
          </a:solidFill>
          <a:latin typeface="+mn-lt"/>
          <a:ea typeface="+mn-ea"/>
          <a:cs typeface="+mn-cs"/>
        </a:defRPr>
      </a:lvl2pPr>
      <a:lvl3pPr marL="682735" indent="-228594" algn="l" defTabSz="914377" rtl="0" eaLnBrk="1" latinLnBrk="0" hangingPunct="1">
        <a:lnSpc>
          <a:spcPct val="120000"/>
        </a:lnSpc>
        <a:spcBef>
          <a:spcPts val="400"/>
        </a:spcBef>
        <a:buFont typeface="Arial" panose="020B0604020202020204" pitchFamily="34" charset="0"/>
        <a:buChar char="–"/>
        <a:defRPr sz="1600" kern="1200">
          <a:solidFill>
            <a:schemeClr val="tx1"/>
          </a:solidFill>
          <a:latin typeface="+mn-lt"/>
          <a:ea typeface="+mn-ea"/>
          <a:cs typeface="+mn-cs"/>
        </a:defRPr>
      </a:lvl3pPr>
      <a:lvl4pPr marL="914377" indent="-228594" algn="l" defTabSz="914377" rtl="0" eaLnBrk="1" latinLnBrk="0" hangingPunct="1">
        <a:lnSpc>
          <a:spcPct val="120000"/>
        </a:lnSpc>
        <a:spcBef>
          <a:spcPts val="400"/>
        </a:spcBef>
        <a:buFont typeface="Arial" panose="020B0604020202020204" pitchFamily="34" charset="0"/>
        <a:buChar char="–"/>
        <a:defRPr sz="1600" kern="1200">
          <a:solidFill>
            <a:schemeClr val="tx1"/>
          </a:solidFill>
          <a:latin typeface="+mn-lt"/>
          <a:ea typeface="+mn-ea"/>
          <a:cs typeface="+mn-cs"/>
        </a:defRPr>
      </a:lvl4pPr>
      <a:lvl5pPr marL="1146019" indent="-228594" algn="l" defTabSz="914377" rtl="0" eaLnBrk="1" latinLnBrk="0" hangingPunct="1">
        <a:lnSpc>
          <a:spcPct val="120000"/>
        </a:lnSpc>
        <a:spcBef>
          <a:spcPts val="400"/>
        </a:spcBef>
        <a:buFont typeface="Arial" panose="020B0604020202020204" pitchFamily="34" charset="0"/>
        <a:buChar char="–"/>
        <a:defRPr sz="1600" kern="1200">
          <a:solidFill>
            <a:schemeClr val="tx1"/>
          </a:solidFill>
          <a:latin typeface="+mn-lt"/>
          <a:ea typeface="+mn-ea"/>
          <a:cs typeface="+mn-cs"/>
        </a:defRPr>
      </a:lvl5pPr>
      <a:lvl6pPr marL="1365470" indent="-228594" algn="l" defTabSz="914377" rtl="0" eaLnBrk="1" latinLnBrk="0" hangingPunct="1">
        <a:lnSpc>
          <a:spcPct val="120000"/>
        </a:lnSpc>
        <a:spcBef>
          <a:spcPts val="400"/>
        </a:spcBef>
        <a:buFont typeface="Arial" panose="020B0604020202020204" pitchFamily="34" charset="0"/>
        <a:buChar char="–"/>
        <a:defRPr sz="1600" kern="1200">
          <a:solidFill>
            <a:schemeClr val="tx1"/>
          </a:solidFill>
          <a:latin typeface="+mn-lt"/>
          <a:ea typeface="+mn-ea"/>
          <a:cs typeface="+mn-cs"/>
        </a:defRPr>
      </a:lvl6pPr>
      <a:lvl7pPr marL="1597112" indent="-228594" algn="l" defTabSz="914377" rtl="0" eaLnBrk="1" latinLnBrk="0" hangingPunct="1">
        <a:lnSpc>
          <a:spcPct val="120000"/>
        </a:lnSpc>
        <a:spcBef>
          <a:spcPts val="400"/>
        </a:spcBef>
        <a:buFont typeface="Arial" panose="020B0604020202020204" pitchFamily="34" charset="0"/>
        <a:buChar char="–"/>
        <a:defRPr sz="1600" kern="1200">
          <a:solidFill>
            <a:schemeClr val="tx1"/>
          </a:solidFill>
          <a:latin typeface="+mn-lt"/>
          <a:ea typeface="+mn-ea"/>
          <a:cs typeface="+mn-cs"/>
        </a:defRPr>
      </a:lvl7pPr>
      <a:lvl8pPr marL="1828754" indent="-228594" algn="l" defTabSz="914377" rtl="0" eaLnBrk="1" latinLnBrk="0" hangingPunct="1">
        <a:lnSpc>
          <a:spcPct val="120000"/>
        </a:lnSpc>
        <a:spcBef>
          <a:spcPts val="400"/>
        </a:spcBef>
        <a:buFont typeface="Arial" panose="020B0604020202020204" pitchFamily="34" charset="0"/>
        <a:buChar char="–"/>
        <a:defRPr sz="1600" kern="1200">
          <a:solidFill>
            <a:schemeClr val="tx1"/>
          </a:solidFill>
          <a:latin typeface="+mn-lt"/>
          <a:ea typeface="+mn-ea"/>
          <a:cs typeface="+mn-cs"/>
        </a:defRPr>
      </a:lvl8pPr>
      <a:lvl9pPr marL="2060396" indent="-228594" algn="l" defTabSz="914377" rtl="0" eaLnBrk="1" latinLnBrk="0" hangingPunct="1">
        <a:lnSpc>
          <a:spcPct val="120000"/>
        </a:lnSpc>
        <a:spcBef>
          <a:spcPts val="4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377" rtl="0" eaLnBrk="1" latinLnBrk="0" hangingPunct="1">
        <a:defRPr sz="1600" kern="1200">
          <a:solidFill>
            <a:schemeClr val="tx1"/>
          </a:solidFill>
          <a:latin typeface="+mn-lt"/>
          <a:ea typeface="+mn-ea"/>
          <a:cs typeface="+mn-cs"/>
        </a:defRPr>
      </a:lvl1pPr>
      <a:lvl2pPr marL="457189" algn="l" defTabSz="914377" rtl="0" eaLnBrk="1" latinLnBrk="0" hangingPunct="1">
        <a:defRPr sz="1600" kern="1200">
          <a:solidFill>
            <a:schemeClr val="tx1"/>
          </a:solidFill>
          <a:latin typeface="+mn-lt"/>
          <a:ea typeface="+mn-ea"/>
          <a:cs typeface="+mn-cs"/>
        </a:defRPr>
      </a:lvl2pPr>
      <a:lvl3pPr marL="914377" algn="l" defTabSz="914377" rtl="0" eaLnBrk="1" latinLnBrk="0" hangingPunct="1">
        <a:defRPr sz="1600" kern="1200">
          <a:solidFill>
            <a:schemeClr val="tx1"/>
          </a:solidFill>
          <a:latin typeface="+mn-lt"/>
          <a:ea typeface="+mn-ea"/>
          <a:cs typeface="+mn-cs"/>
        </a:defRPr>
      </a:lvl3pPr>
      <a:lvl4pPr marL="1371566" algn="l" defTabSz="914377" rtl="0" eaLnBrk="1" latinLnBrk="0" hangingPunct="1">
        <a:defRPr sz="1600" kern="1200">
          <a:solidFill>
            <a:schemeClr val="tx1"/>
          </a:solidFill>
          <a:latin typeface="+mn-lt"/>
          <a:ea typeface="+mn-ea"/>
          <a:cs typeface="+mn-cs"/>
        </a:defRPr>
      </a:lvl4pPr>
      <a:lvl5pPr marL="1828754" algn="l" defTabSz="914377" rtl="0" eaLnBrk="1" latinLnBrk="0" hangingPunct="1">
        <a:defRPr sz="1600" kern="1200">
          <a:solidFill>
            <a:schemeClr val="tx1"/>
          </a:solidFill>
          <a:latin typeface="+mn-lt"/>
          <a:ea typeface="+mn-ea"/>
          <a:cs typeface="+mn-cs"/>
        </a:defRPr>
      </a:lvl5pPr>
      <a:lvl6pPr marL="2285943" algn="l" defTabSz="914377" rtl="0" eaLnBrk="1" latinLnBrk="0" hangingPunct="1">
        <a:defRPr sz="1600" kern="1200">
          <a:solidFill>
            <a:schemeClr val="tx1"/>
          </a:solidFill>
          <a:latin typeface="+mn-lt"/>
          <a:ea typeface="+mn-ea"/>
          <a:cs typeface="+mn-cs"/>
        </a:defRPr>
      </a:lvl6pPr>
      <a:lvl7pPr marL="2743131" algn="l" defTabSz="914377" rtl="0" eaLnBrk="1" latinLnBrk="0" hangingPunct="1">
        <a:defRPr sz="1600" kern="1200">
          <a:solidFill>
            <a:schemeClr val="tx1"/>
          </a:solidFill>
          <a:latin typeface="+mn-lt"/>
          <a:ea typeface="+mn-ea"/>
          <a:cs typeface="+mn-cs"/>
        </a:defRPr>
      </a:lvl7pPr>
      <a:lvl8pPr marL="3200320" algn="l" defTabSz="914377" rtl="0" eaLnBrk="1" latinLnBrk="0" hangingPunct="1">
        <a:defRPr sz="1600" kern="1200">
          <a:solidFill>
            <a:schemeClr val="tx1"/>
          </a:solidFill>
          <a:latin typeface="+mn-lt"/>
          <a:ea typeface="+mn-ea"/>
          <a:cs typeface="+mn-cs"/>
        </a:defRPr>
      </a:lvl8pPr>
      <a:lvl9pPr marL="3657509" algn="l" defTabSz="914377"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8">
          <p15:clr>
            <a:srgbClr val="F26B43"/>
          </p15:clr>
        </p15:guide>
        <p15:guide id="2" pos="288">
          <p15:clr>
            <a:srgbClr val="F26B43"/>
          </p15:clr>
        </p15:guide>
        <p15:guide id="3" pos="5472">
          <p15:clr>
            <a:srgbClr val="F26B43"/>
          </p15:clr>
        </p15:guide>
        <p15:guide id="4" orient="horz" pos="776">
          <p15:clr>
            <a:srgbClr val="F26B43"/>
          </p15:clr>
        </p15:guide>
        <p15:guide id="6" pos="2880">
          <p15:clr>
            <a:srgbClr val="F26B43"/>
          </p15:clr>
        </p15:guide>
        <p15:guide id="7" pos="1901">
          <p15:clr>
            <a:srgbClr val="F26B43"/>
          </p15:clr>
        </p15:guide>
        <p15:guide id="8" pos="2074">
          <p15:clr>
            <a:srgbClr val="F26B43"/>
          </p15:clr>
        </p15:guide>
        <p15:guide id="11" pos="3859">
          <p15:clr>
            <a:srgbClr val="F26B43"/>
          </p15:clr>
        </p15:guide>
        <p15:guide id="12" pos="3686">
          <p15:clr>
            <a:srgbClr val="F26B43"/>
          </p15:clr>
        </p15:guide>
        <p15:guide id="13" pos="4666">
          <p15:clr>
            <a:srgbClr val="F26B43"/>
          </p15:clr>
        </p15:guide>
        <p15:guide id="14" orient="horz" pos="2794">
          <p15:clr>
            <a:srgbClr val="F26B43"/>
          </p15:clr>
        </p15:guide>
        <p15:guide id="15" pos="2794">
          <p15:clr>
            <a:srgbClr val="F26B43"/>
          </p15:clr>
        </p15:guide>
        <p15:guide id="16" pos="296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7" cstate="print"/>
          <a:stretch>
            <a:fillRect/>
          </a:stretch>
        </p:blipFill>
        <p:spPr>
          <a:xfrm>
            <a:off x="5760969" y="5240866"/>
            <a:ext cx="5640583" cy="1617133"/>
          </a:xfrm>
          <a:prstGeom prst="rect">
            <a:avLst/>
          </a:prstGeom>
        </p:spPr>
      </p:pic>
      <p:pic>
        <p:nvPicPr>
          <p:cNvPr id="17" name="bg object 17"/>
          <p:cNvPicPr/>
          <p:nvPr/>
        </p:nvPicPr>
        <p:blipFill>
          <a:blip r:embed="rId8" cstate="print"/>
          <a:stretch>
            <a:fillRect/>
          </a:stretch>
        </p:blipFill>
        <p:spPr>
          <a:xfrm>
            <a:off x="607568" y="6091937"/>
            <a:ext cx="467360" cy="462279"/>
          </a:xfrm>
          <a:prstGeom prst="rect">
            <a:avLst/>
          </a:prstGeom>
        </p:spPr>
      </p:pic>
      <p:sp>
        <p:nvSpPr>
          <p:cNvPr id="2" name="Holder 2"/>
          <p:cNvSpPr>
            <a:spLocks noGrp="1"/>
          </p:cNvSpPr>
          <p:nvPr>
            <p:ph type="title"/>
          </p:nvPr>
        </p:nvSpPr>
        <p:spPr>
          <a:xfrm>
            <a:off x="838540" y="1030392"/>
            <a:ext cx="9716345" cy="246221"/>
          </a:xfrm>
          <a:prstGeom prst="rect">
            <a:avLst/>
          </a:prstGeom>
        </p:spPr>
        <p:txBody>
          <a:bodyPr wrap="square" lIns="0" tIns="0" rIns="0" bIns="0">
            <a:spAutoFit/>
          </a:bodyPr>
          <a:lstStyle>
            <a:lvl1pPr>
              <a:defRPr sz="1600" b="0" i="0">
                <a:solidFill>
                  <a:srgbClr val="52555A"/>
                </a:solidFill>
                <a:latin typeface="BentonSans Regular"/>
                <a:cs typeface="BentonSans Regular"/>
              </a:defRPr>
            </a:lvl1pPr>
          </a:lstStyle>
          <a:p>
            <a:endParaRPr/>
          </a:p>
        </p:txBody>
      </p:sp>
      <p:sp>
        <p:nvSpPr>
          <p:cNvPr id="3" name="Holder 3"/>
          <p:cNvSpPr>
            <a:spLocks noGrp="1"/>
          </p:cNvSpPr>
          <p:nvPr>
            <p:ph type="body" idx="1"/>
          </p:nvPr>
        </p:nvSpPr>
        <p:spPr>
          <a:xfrm>
            <a:off x="680042" y="1728181"/>
            <a:ext cx="5467772" cy="215444"/>
          </a:xfrm>
          <a:prstGeom prst="rect">
            <a:avLst/>
          </a:prstGeom>
        </p:spPr>
        <p:txBody>
          <a:bodyPr wrap="square" lIns="0" tIns="0" rIns="0" bIns="0">
            <a:spAutoFit/>
          </a:bodyPr>
          <a:lstStyle>
            <a:lvl1pPr>
              <a:defRPr sz="1400" b="0" i="0">
                <a:solidFill>
                  <a:srgbClr val="52555A"/>
                </a:solidFill>
                <a:latin typeface="BentonSans Regular"/>
                <a:cs typeface="BentonSans Regular"/>
              </a:defRPr>
            </a:lvl1pPr>
          </a:lstStyle>
          <a:p>
            <a:endParaRPr/>
          </a:p>
        </p:txBody>
      </p:sp>
      <p:sp>
        <p:nvSpPr>
          <p:cNvPr id="4" name="Holder 4"/>
          <p:cNvSpPr>
            <a:spLocks noGrp="1"/>
          </p:cNvSpPr>
          <p:nvPr>
            <p:ph type="ftr" sz="quarter" idx="5"/>
          </p:nvPr>
        </p:nvSpPr>
        <p:spPr>
          <a:xfrm>
            <a:off x="1324592" y="6363834"/>
            <a:ext cx="5388187" cy="102592"/>
          </a:xfrm>
          <a:prstGeom prst="rect">
            <a:avLst/>
          </a:prstGeom>
        </p:spPr>
        <p:txBody>
          <a:bodyPr wrap="square" lIns="0" tIns="0" rIns="0" bIns="0">
            <a:spAutoFit/>
          </a:bodyPr>
          <a:lstStyle>
            <a:lvl1pPr>
              <a:defRPr sz="667" b="0" i="0">
                <a:solidFill>
                  <a:srgbClr val="52555A"/>
                </a:solidFill>
                <a:latin typeface="BentonSans Regular"/>
                <a:cs typeface="BentonSans Regular"/>
              </a:defRPr>
            </a:lvl1pPr>
          </a:lstStyle>
          <a:p>
            <a:pPr marL="16933">
              <a:lnSpc>
                <a:spcPts val="793"/>
              </a:lnSpc>
            </a:pPr>
            <a:r>
              <a:rPr lang="en-GB"/>
              <a:t>AXP Internal</a:t>
            </a:r>
            <a:endParaRPr lang="en-GB" spc="-13"/>
          </a:p>
        </p:txBody>
      </p:sp>
      <p:sp>
        <p:nvSpPr>
          <p:cNvPr id="5" name="Holder 5"/>
          <p:cNvSpPr>
            <a:spLocks noGrp="1"/>
          </p:cNvSpPr>
          <p:nvPr>
            <p:ph type="dt" sz="half" idx="6"/>
          </p:nvPr>
        </p:nvSpPr>
        <p:spPr>
          <a:xfrm>
            <a:off x="609600" y="6377941"/>
            <a:ext cx="2804160" cy="276999"/>
          </a:xfrm>
          <a:prstGeom prst="rect">
            <a:avLst/>
          </a:prstGeom>
        </p:spPr>
        <p:txBody>
          <a:bodyPr wrap="square" lIns="0" tIns="0" rIns="0" bIns="0">
            <a:spAutoFit/>
          </a:bodyPr>
          <a:lstStyle>
            <a:lvl1pPr algn="l">
              <a:defRPr>
                <a:solidFill>
                  <a:schemeClr val="tx1">
                    <a:tint val="75000"/>
                  </a:schemeClr>
                </a:solidFill>
              </a:defRPr>
            </a:lvl1pPr>
          </a:lstStyle>
          <a:p>
            <a:fld id="{DAF077F7-4293-4469-B9A2-AF819393DE07}" type="datetime5">
              <a:rPr lang="en-US" smtClean="0"/>
              <a:t>16-May-23</a:t>
            </a:fld>
            <a:endParaRPr lang="en-US"/>
          </a:p>
        </p:txBody>
      </p:sp>
      <p:sp>
        <p:nvSpPr>
          <p:cNvPr id="6" name="Holder 6"/>
          <p:cNvSpPr>
            <a:spLocks noGrp="1"/>
          </p:cNvSpPr>
          <p:nvPr>
            <p:ph type="sldNum" sz="quarter" idx="7"/>
          </p:nvPr>
        </p:nvSpPr>
        <p:spPr>
          <a:xfrm>
            <a:off x="11413406" y="6376326"/>
            <a:ext cx="239605" cy="654025"/>
          </a:xfrm>
          <a:prstGeom prst="rect">
            <a:avLst/>
          </a:prstGeom>
        </p:spPr>
        <p:txBody>
          <a:bodyPr wrap="square" lIns="0" tIns="0" rIns="0" bIns="0">
            <a:spAutoFit/>
          </a:bodyPr>
          <a:lstStyle>
            <a:lvl1pPr>
              <a:defRPr sz="1600" b="0" i="0">
                <a:solidFill>
                  <a:srgbClr val="006ECF"/>
                </a:solidFill>
                <a:latin typeface="BentonSans Regular"/>
                <a:cs typeface="BentonSans Regular"/>
              </a:defRPr>
            </a:lvl1pPr>
          </a:lstStyle>
          <a:p>
            <a:pPr marL="50799">
              <a:lnSpc>
                <a:spcPts val="1713"/>
              </a:lnSpc>
            </a:pPr>
            <a:fld id="{81D60167-4931-47E6-BA6A-407CBD079E47}" type="slidenum">
              <a:rPr lang="en-GB" smtClean="0"/>
              <a:pPr marL="50799">
                <a:lnSpc>
                  <a:spcPts val="1713"/>
                </a:lnSpc>
              </a:pPr>
              <a:t>‹#›</a:t>
            </a:fld>
            <a:endParaRPr lang="en-GB"/>
          </a:p>
        </p:txBody>
      </p:sp>
    </p:spTree>
    <p:extLst>
      <p:ext uri="{BB962C8B-B14F-4D97-AF65-F5344CB8AC3E}">
        <p14:creationId xmlns:p14="http://schemas.microsoft.com/office/powerpoint/2010/main" val="352280230"/>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Lst>
  <p:hf hdr="0"/>
  <p:txStyles>
    <p:titleStyle>
      <a:lvl1pPr>
        <a:defRPr>
          <a:latin typeface="+mj-lt"/>
          <a:ea typeface="+mj-ea"/>
          <a:cs typeface="+mj-cs"/>
        </a:defRPr>
      </a:lvl1pPr>
    </p:titleStyle>
    <p:body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bodyStyle>
    <p:other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394DCDB-56A1-AC43-EDE6-86761E9CF14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13785E54-E3B6-CE6A-1FBE-6F9AD947B76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B14C0B06-CB1F-7162-45ED-F0449499FCD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D1771C6-0EE6-432D-B16F-77701201C33E}" type="datetimeFigureOut">
              <a:rPr lang="en-GB" smtClean="0"/>
              <a:t>16/05/2023</a:t>
            </a:fld>
            <a:endParaRPr lang="en-GB"/>
          </a:p>
        </p:txBody>
      </p:sp>
      <p:sp>
        <p:nvSpPr>
          <p:cNvPr id="5" name="Footer Placeholder 4">
            <a:extLst>
              <a:ext uri="{FF2B5EF4-FFF2-40B4-BE49-F238E27FC236}">
                <a16:creationId xmlns:a16="http://schemas.microsoft.com/office/drawing/2014/main" id="{C5BC444B-C509-CFB1-EAB7-BCC7A03AD7D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321B9CBA-CC06-EC9E-BEB9-F35BC3B91CA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F5BD61F-9C7B-4E41-A931-60B10B090C73}" type="slidenum">
              <a:rPr lang="en-GB" smtClean="0"/>
              <a:t>‹#›</a:t>
            </a:fld>
            <a:endParaRPr lang="en-GB"/>
          </a:p>
        </p:txBody>
      </p:sp>
    </p:spTree>
    <p:extLst>
      <p:ext uri="{BB962C8B-B14F-4D97-AF65-F5344CB8AC3E}">
        <p14:creationId xmlns:p14="http://schemas.microsoft.com/office/powerpoint/2010/main" val="975993795"/>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2.png"/><Relationship Id="rId1" Type="http://schemas.openxmlformats.org/officeDocument/2006/relationships/slideLayout" Target="../slideLayouts/slideLayout16.xml"/><Relationship Id="rId5" Type="http://schemas.openxmlformats.org/officeDocument/2006/relationships/image" Target="../media/image40.jpeg"/><Relationship Id="rId4" Type="http://schemas.openxmlformats.org/officeDocument/2006/relationships/image" Target="../media/image39.jpeg"/></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2.png"/><Relationship Id="rId1" Type="http://schemas.openxmlformats.org/officeDocument/2006/relationships/slideLayout" Target="../slideLayouts/slideLayout16.xml"/><Relationship Id="rId5" Type="http://schemas.openxmlformats.org/officeDocument/2006/relationships/image" Target="../media/image42.jpeg"/><Relationship Id="rId4" Type="http://schemas.openxmlformats.org/officeDocument/2006/relationships/image" Target="../media/image41.jpeg"/></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2.png"/><Relationship Id="rId1" Type="http://schemas.openxmlformats.org/officeDocument/2006/relationships/slideLayout" Target="../slideLayouts/slideLayout16.xml"/><Relationship Id="rId5" Type="http://schemas.openxmlformats.org/officeDocument/2006/relationships/image" Target="../media/image44.jpeg"/><Relationship Id="rId4" Type="http://schemas.openxmlformats.org/officeDocument/2006/relationships/image" Target="../media/image43.jpeg"/></Relationships>
</file>

<file path=ppt/slides/_rels/slide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56.xml"/></Relationships>
</file>

<file path=ppt/slides/_rels/slide2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57.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2.png"/><Relationship Id="rId1" Type="http://schemas.openxmlformats.org/officeDocument/2006/relationships/slideLayout" Target="../slideLayouts/slideLayout16.xml"/><Relationship Id="rId4" Type="http://schemas.openxmlformats.org/officeDocument/2006/relationships/image" Target="../media/image47.jpeg"/></Relationships>
</file>

<file path=ppt/slides/_rels/slide2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2.png"/><Relationship Id="rId1" Type="http://schemas.openxmlformats.org/officeDocument/2006/relationships/slideLayout" Target="../slideLayouts/slideLayout16.xml"/><Relationship Id="rId5" Type="http://schemas.openxmlformats.org/officeDocument/2006/relationships/image" Target="../media/image26.jpeg"/><Relationship Id="rId4" Type="http://schemas.openxmlformats.org/officeDocument/2006/relationships/image" Target="../media/image25.jpeg"/></Relationships>
</file>

<file path=ppt/slides/_rels/slide3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2.png"/><Relationship Id="rId1" Type="http://schemas.openxmlformats.org/officeDocument/2006/relationships/slideLayout" Target="../slideLayouts/slideLayout16.xml"/><Relationship Id="rId5" Type="http://schemas.openxmlformats.org/officeDocument/2006/relationships/image" Target="../media/image29.jpeg"/><Relationship Id="rId4" Type="http://schemas.openxmlformats.org/officeDocument/2006/relationships/image" Target="../media/image28.jpeg"/></Relationships>
</file>

<file path=ppt/slides/_rels/slide4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21.png"/><Relationship Id="rId1" Type="http://schemas.openxmlformats.org/officeDocument/2006/relationships/slideLayout" Target="../slideLayouts/slideLayout52.xml"/></Relationships>
</file>

<file path=ppt/slides/_rels/slide4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21.png"/><Relationship Id="rId1" Type="http://schemas.openxmlformats.org/officeDocument/2006/relationships/slideLayout" Target="../slideLayouts/slideLayout52.xml"/></Relationships>
</file>

<file path=ppt/slides/_rels/slide42.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21.png"/><Relationship Id="rId1" Type="http://schemas.openxmlformats.org/officeDocument/2006/relationships/slideLayout" Target="../slideLayouts/slideLayout52.xml"/></Relationships>
</file>

<file path=ppt/slides/_rels/slide4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2.png"/><Relationship Id="rId1" Type="http://schemas.openxmlformats.org/officeDocument/2006/relationships/slideLayout" Target="../slideLayouts/slideLayout16.xml"/><Relationship Id="rId5" Type="http://schemas.openxmlformats.org/officeDocument/2006/relationships/image" Target="../media/image32.png"/><Relationship Id="rId4" Type="http://schemas.openxmlformats.org/officeDocument/2006/relationships/image" Target="../media/image31.png"/></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2.png"/><Relationship Id="rId1" Type="http://schemas.openxmlformats.org/officeDocument/2006/relationships/slideLayout" Target="../slideLayouts/slideLayout16.xml"/><Relationship Id="rId5" Type="http://schemas.openxmlformats.org/officeDocument/2006/relationships/image" Target="../media/image35.png"/><Relationship Id="rId4" Type="http://schemas.openxmlformats.org/officeDocument/2006/relationships/image" Target="../media/image34.png"/></Relationships>
</file>

<file path=ppt/slides/_rels/slide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2.png"/><Relationship Id="rId1" Type="http://schemas.openxmlformats.org/officeDocument/2006/relationships/slideLayout" Target="../slideLayouts/slideLayout16.xml"/><Relationship Id="rId5" Type="http://schemas.openxmlformats.org/officeDocument/2006/relationships/image" Target="../media/image38.jpeg"/><Relationship Id="rId4" Type="http://schemas.openxmlformats.org/officeDocument/2006/relationships/image" Target="../media/image37.jpeg"/></Relationships>
</file>

<file path=ppt/slides/_rels/slide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rotWithShape="1">
          <a:blip r:embed="rId2"/>
          <a:srcRect l="486" r="39298"/>
          <a:stretch/>
        </p:blipFill>
        <p:spPr>
          <a:xfrm>
            <a:off x="9512187" y="0"/>
            <a:ext cx="2679813" cy="6858000"/>
          </a:xfrm>
          <a:prstGeom prst="rect">
            <a:avLst/>
          </a:prstGeom>
        </p:spPr>
      </p:pic>
      <p:pic>
        <p:nvPicPr>
          <p:cNvPr id="3" name="Picture 2">
            <a:extLst>
              <a:ext uri="{FF2B5EF4-FFF2-40B4-BE49-F238E27FC236}">
                <a16:creationId xmlns:a16="http://schemas.microsoft.com/office/drawing/2014/main" id="{E2E11E99-A81B-C638-28EE-0BC86E7BF2EF}"/>
              </a:ext>
            </a:extLst>
          </p:cNvPr>
          <p:cNvPicPr>
            <a:picLocks noChangeAspect="1"/>
          </p:cNvPicPr>
          <p:nvPr/>
        </p:nvPicPr>
        <p:blipFill rotWithShape="1">
          <a:blip r:embed="rId2"/>
          <a:srcRect l="29541" r="8954"/>
          <a:stretch/>
        </p:blipFill>
        <p:spPr>
          <a:xfrm>
            <a:off x="0" y="0"/>
            <a:ext cx="2737184" cy="6858000"/>
          </a:xfrm>
          <a:prstGeom prst="rect">
            <a:avLst/>
          </a:prstGeom>
        </p:spPr>
      </p:pic>
      <p:sp>
        <p:nvSpPr>
          <p:cNvPr id="10" name="TextBox 9">
            <a:extLst>
              <a:ext uri="{FF2B5EF4-FFF2-40B4-BE49-F238E27FC236}">
                <a16:creationId xmlns:a16="http://schemas.microsoft.com/office/drawing/2014/main" id="{7C123359-7C73-5C0C-3883-B003884F02E2}"/>
              </a:ext>
            </a:extLst>
          </p:cNvPr>
          <p:cNvSpPr txBox="1"/>
          <p:nvPr/>
        </p:nvSpPr>
        <p:spPr>
          <a:xfrm>
            <a:off x="4672326" y="1933494"/>
            <a:ext cx="2847347" cy="2991012"/>
          </a:xfrm>
          <a:prstGeom prst="rect">
            <a:avLst/>
          </a:prstGeom>
          <a:noFill/>
        </p:spPr>
        <p:txBody>
          <a:bodyPr wrap="square" lIns="0" tIns="0" rIns="0" bIns="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8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rPr>
              <a:t>2023</a:t>
            </a:r>
            <a:endParaRPr kumimoji="0" lang="en-US" sz="66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endParaRP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BentonSans Medium" panose="02000603000000020004" pitchFamily="2" charset="0"/>
                <a:ea typeface="+mn-ea"/>
                <a:cs typeface="+mn-cs"/>
              </a:rPr>
              <a:t>EXECUTIV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600" b="0" i="0" u="none" strike="noStrike" kern="1200" cap="none" spc="600" normalizeH="0" baseline="0" noProof="0">
                <a:ln>
                  <a:noFill/>
                </a:ln>
                <a:solidFill>
                  <a:srgbClr val="FFFFFF"/>
                </a:solidFill>
                <a:effectLst/>
                <a:uLnTx/>
                <a:uFillTx/>
                <a:latin typeface="BentonSans Medium" panose="02000603000000020004" pitchFamily="2" charset="0"/>
                <a:ea typeface="+mn-ea"/>
                <a:cs typeface="+mn-cs"/>
              </a:rPr>
              <a:t>BEN</a:t>
            </a:r>
          </a:p>
          <a:p>
            <a:pPr marL="0" marR="0" lvl="0" indent="0" algn="ctr" defTabSz="914400" rtl="0" eaLnBrk="1" fontAlgn="auto" latinLnBrk="0" hangingPunct="1">
              <a:lnSpc>
                <a:spcPct val="50000"/>
              </a:lnSpc>
              <a:spcBef>
                <a:spcPts val="0"/>
              </a:spcBef>
              <a:spcAft>
                <a:spcPts val="0"/>
              </a:spcAft>
              <a:buClrTx/>
              <a:buSzTx/>
              <a:buFontTx/>
              <a:buNone/>
              <a:tabLst/>
              <a:defRPr/>
            </a:pPr>
            <a:r>
              <a:rPr kumimoji="0" lang="en-US" sz="3600" b="0" i="0" u="none" strike="noStrike" kern="1200" cap="none" spc="0" normalizeH="0" baseline="0" noProof="0">
                <a:ln>
                  <a:noFill/>
                </a:ln>
                <a:solidFill>
                  <a:srgbClr val="6AABE4"/>
                </a:solidFill>
                <a:effectLst/>
                <a:uLnTx/>
                <a:uFillTx/>
                <a:latin typeface="BentonSans Light"/>
                <a:ea typeface="+mn-ea"/>
                <a:cs typeface="+mn-cs"/>
              </a:rPr>
              <a:t>Global Forum</a:t>
            </a:r>
          </a:p>
        </p:txBody>
      </p:sp>
    </p:spTree>
    <p:extLst>
      <p:ext uri="{BB962C8B-B14F-4D97-AF65-F5344CB8AC3E}">
        <p14:creationId xmlns:p14="http://schemas.microsoft.com/office/powerpoint/2010/main" val="37723864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a:blip r:embed="rId2"/>
          <a:stretch>
            <a:fillRect/>
          </a:stretch>
        </p:blipFill>
        <p:spPr>
          <a:xfrm>
            <a:off x="0" y="0"/>
            <a:ext cx="4450342" cy="6858000"/>
          </a:xfrm>
          <a:prstGeom prst="rect">
            <a:avLst/>
          </a:prstGeom>
        </p:spPr>
      </p:pic>
      <p:grpSp>
        <p:nvGrpSpPr>
          <p:cNvPr id="2" name="Group 1">
            <a:extLst>
              <a:ext uri="{FF2B5EF4-FFF2-40B4-BE49-F238E27FC236}">
                <a16:creationId xmlns:a16="http://schemas.microsoft.com/office/drawing/2014/main" id="{4E0343EA-17A5-8309-6516-90A9F9278F90}"/>
              </a:ext>
            </a:extLst>
          </p:cNvPr>
          <p:cNvGrpSpPr/>
          <p:nvPr/>
        </p:nvGrpSpPr>
        <p:grpSpPr>
          <a:xfrm>
            <a:off x="4669971" y="953491"/>
            <a:ext cx="7262599" cy="4369401"/>
            <a:chOff x="5830139" y="1892189"/>
            <a:chExt cx="4869815" cy="4369401"/>
          </a:xfrm>
        </p:grpSpPr>
        <p:sp>
          <p:nvSpPr>
            <p:cNvPr id="6" name="TextBox 5">
              <a:extLst>
                <a:ext uri="{FF2B5EF4-FFF2-40B4-BE49-F238E27FC236}">
                  <a16:creationId xmlns:a16="http://schemas.microsoft.com/office/drawing/2014/main" id="{3DF89D8B-DCA4-3F76-6E5B-FD1B002BDA17}"/>
                </a:ext>
              </a:extLst>
            </p:cNvPr>
            <p:cNvSpPr txBox="1"/>
            <p:nvPr/>
          </p:nvSpPr>
          <p:spPr>
            <a:xfrm>
              <a:off x="5830140" y="4291820"/>
              <a:ext cx="4869814" cy="1969770"/>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300" normalizeH="0" baseline="0" noProof="0" dirty="0">
                  <a:ln>
                    <a:noFill/>
                  </a:ln>
                  <a:solidFill>
                    <a:srgbClr val="FFFFFF"/>
                  </a:solidFill>
                  <a:effectLst/>
                  <a:uLnTx/>
                  <a:uFillTx/>
                  <a:latin typeface="BentonSans Medium" panose="02000603000000020004" pitchFamily="2" charset="0"/>
                  <a:ea typeface="+mn-ea"/>
                  <a:cs typeface="+mn-cs"/>
                </a:rPr>
                <a:t>Leading with Authenticity Room 1</a:t>
              </a: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spc="300" dirty="0">
                <a:solidFill>
                  <a:srgbClr val="FFFFFF"/>
                </a:solidFill>
                <a:latin typeface="BentonSans Medium" panose="02000603000000020004" pitchFamily="2"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pc="300" dirty="0">
                  <a:solidFill>
                    <a:srgbClr val="FFFFFF"/>
                  </a:solidFill>
                  <a:latin typeface="BentonSans Medium" panose="02000603000000020004" pitchFamily="2" charset="0"/>
                </a:rPr>
                <a:t>We are the Champions: Being a Sponsor &amp; Seeking Sponsorship Room 8</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b="0" i="0" u="none" strike="noStrike" kern="1200" cap="none" spc="300" normalizeH="0" baseline="0" noProof="0" dirty="0">
                <a:ln>
                  <a:noFill/>
                </a:ln>
                <a:solidFill>
                  <a:srgbClr val="FFFFFF"/>
                </a:solidFill>
                <a:effectLst/>
                <a:uLnTx/>
                <a:uFillTx/>
                <a:latin typeface="BentonSans Medium" panose="02000603000000020004" pitchFamily="2" charset="0"/>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300" normalizeH="0" baseline="0" noProof="0" dirty="0">
                  <a:ln>
                    <a:noFill/>
                  </a:ln>
                  <a:solidFill>
                    <a:srgbClr val="FFFFFF"/>
                  </a:solidFill>
                  <a:effectLst/>
                  <a:uLnTx/>
                  <a:uFillTx/>
                  <a:latin typeface="BentonSans Medium" panose="02000603000000020004" pitchFamily="2" charset="0"/>
                  <a:ea typeface="+mn-ea"/>
                  <a:cs typeface="+mn-cs"/>
                </a:rPr>
                <a:t>Leading </a:t>
              </a:r>
              <a:r>
                <a:rPr lang="en-US" spc="300" dirty="0">
                  <a:solidFill>
                    <a:srgbClr val="FFFFFF"/>
                  </a:solidFill>
                  <a:latin typeface="BentonSans Medium" panose="02000603000000020004" pitchFamily="2" charset="0"/>
                </a:rPr>
                <a:t>through Change: Resiliency Room 9</a:t>
              </a:r>
              <a:endParaRPr kumimoji="0" lang="en-US" b="0" i="0" u="none" strike="noStrike" kern="1200" cap="none" spc="300" normalizeH="0" baseline="0" noProof="0" dirty="0">
                <a:ln>
                  <a:noFill/>
                </a:ln>
                <a:solidFill>
                  <a:srgbClr val="FFFFFF"/>
                </a:solidFill>
                <a:effectLst/>
                <a:uLnTx/>
                <a:uFillTx/>
                <a:latin typeface="BentonSans Medium" panose="02000603000000020004" pitchFamily="2" charset="0"/>
                <a:ea typeface="+mn-ea"/>
                <a:cs typeface="+mn-cs"/>
              </a:endParaRPr>
            </a:p>
          </p:txBody>
        </p:sp>
        <p:sp>
          <p:nvSpPr>
            <p:cNvPr id="7" name="TextBox 6">
              <a:extLst>
                <a:ext uri="{FF2B5EF4-FFF2-40B4-BE49-F238E27FC236}">
                  <a16:creationId xmlns:a16="http://schemas.microsoft.com/office/drawing/2014/main" id="{E908AC03-8CCE-CA04-4404-13D317BA498F}"/>
                </a:ext>
              </a:extLst>
            </p:cNvPr>
            <p:cNvSpPr txBox="1"/>
            <p:nvPr/>
          </p:nvSpPr>
          <p:spPr>
            <a:xfrm>
              <a:off x="5830139" y="1892189"/>
              <a:ext cx="4869815" cy="256993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5400" b="0" i="0" u="none" strike="noStrike" kern="1200" cap="none" spc="0" normalizeH="0" baseline="0" noProof="0" dirty="0">
                  <a:ln>
                    <a:noFill/>
                  </a:ln>
                  <a:solidFill>
                    <a:srgbClr val="FFFFFF"/>
                  </a:solidFill>
                  <a:effectLst/>
                  <a:uLnTx/>
                  <a:uFillTx/>
                  <a:latin typeface="BentonSans Light"/>
                  <a:ea typeface="+mn-ea"/>
                  <a:cs typeface="+mn-cs"/>
                </a:rPr>
                <a:t>WORKSHOP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5400" b="0" i="0" u="none" strike="noStrike" kern="1200" cap="none" spc="0" normalizeH="0" baseline="0" noProof="0" dirty="0">
                  <a:ln>
                    <a:noFill/>
                  </a:ln>
                  <a:solidFill>
                    <a:srgbClr val="FFFFFF"/>
                  </a:solidFill>
                  <a:effectLst/>
                  <a:uLnTx/>
                  <a:uFillTx/>
                  <a:latin typeface="BentonSans Light"/>
                  <a:ea typeface="+mn-ea"/>
                  <a:cs typeface="+mn-cs"/>
                </a:rPr>
                <a:t>INTRODUCTION</a:t>
              </a:r>
            </a:p>
          </p:txBody>
        </p:sp>
        <p:cxnSp>
          <p:nvCxnSpPr>
            <p:cNvPr id="8" name="Straight Connector 7">
              <a:extLst>
                <a:ext uri="{FF2B5EF4-FFF2-40B4-BE49-F238E27FC236}">
                  <a16:creationId xmlns:a16="http://schemas.microsoft.com/office/drawing/2014/main" id="{F49481BD-283D-D5D6-92CD-48A75977AB1D}"/>
                </a:ext>
              </a:extLst>
            </p:cNvPr>
            <p:cNvCxnSpPr/>
            <p:nvPr/>
          </p:nvCxnSpPr>
          <p:spPr>
            <a:xfrm>
              <a:off x="5830140" y="3875809"/>
              <a:ext cx="1981201"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9" name="Picture 8">
            <a:extLst>
              <a:ext uri="{FF2B5EF4-FFF2-40B4-BE49-F238E27FC236}">
                <a16:creationId xmlns:a16="http://schemas.microsoft.com/office/drawing/2014/main" id="{FA9091A2-390C-9288-0AFB-BB2FDE753833}"/>
              </a:ext>
            </a:extLst>
          </p:cNvPr>
          <p:cNvPicPr>
            <a:picLocks noChangeAspect="1"/>
          </p:cNvPicPr>
          <p:nvPr/>
        </p:nvPicPr>
        <p:blipFill>
          <a:blip r:embed="rId3"/>
          <a:stretch>
            <a:fillRect/>
          </a:stretch>
        </p:blipFill>
        <p:spPr>
          <a:xfrm>
            <a:off x="10998805" y="5506945"/>
            <a:ext cx="933765" cy="1102925"/>
          </a:xfrm>
          <a:prstGeom prst="rect">
            <a:avLst/>
          </a:prstGeom>
        </p:spPr>
      </p:pic>
    </p:spTree>
    <p:extLst>
      <p:ext uri="{BB962C8B-B14F-4D97-AF65-F5344CB8AC3E}">
        <p14:creationId xmlns:p14="http://schemas.microsoft.com/office/powerpoint/2010/main" val="9046022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rotWithShape="1">
          <a:blip r:embed="rId2"/>
          <a:srcRect l="486" r="39298"/>
          <a:stretch/>
        </p:blipFill>
        <p:spPr>
          <a:xfrm>
            <a:off x="9512187" y="0"/>
            <a:ext cx="2679813" cy="6858000"/>
          </a:xfrm>
          <a:prstGeom prst="rect">
            <a:avLst/>
          </a:prstGeom>
        </p:spPr>
      </p:pic>
      <p:sp>
        <p:nvSpPr>
          <p:cNvPr id="6" name="TextBox 5">
            <a:extLst>
              <a:ext uri="{FF2B5EF4-FFF2-40B4-BE49-F238E27FC236}">
                <a16:creationId xmlns:a16="http://schemas.microsoft.com/office/drawing/2014/main" id="{3DF89D8B-DCA4-3F76-6E5B-FD1B002BDA17}"/>
              </a:ext>
            </a:extLst>
          </p:cNvPr>
          <p:cNvSpPr txBox="1"/>
          <p:nvPr/>
        </p:nvSpPr>
        <p:spPr>
          <a:xfrm>
            <a:off x="4271358" y="4351887"/>
            <a:ext cx="4338873"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300" normalizeH="0" baseline="0" noProof="0">
                <a:ln>
                  <a:noFill/>
                </a:ln>
                <a:solidFill>
                  <a:srgbClr val="FFFFFF"/>
                </a:solidFill>
                <a:effectLst/>
                <a:uLnTx/>
                <a:uFillTx/>
                <a:latin typeface="BentonSans Medium" panose="02000603000000020004" pitchFamily="2" charset="0"/>
                <a:ea typeface="+mn-ea"/>
                <a:cs typeface="+mn-cs"/>
              </a:rPr>
              <a:t>3:00 - 3:25 PM</a:t>
            </a:r>
          </a:p>
        </p:txBody>
      </p:sp>
      <p:sp>
        <p:nvSpPr>
          <p:cNvPr id="7" name="TextBox 6">
            <a:extLst>
              <a:ext uri="{FF2B5EF4-FFF2-40B4-BE49-F238E27FC236}">
                <a16:creationId xmlns:a16="http://schemas.microsoft.com/office/drawing/2014/main" id="{E908AC03-8CCE-CA04-4404-13D317BA498F}"/>
              </a:ext>
            </a:extLst>
          </p:cNvPr>
          <p:cNvSpPr txBox="1"/>
          <p:nvPr/>
        </p:nvSpPr>
        <p:spPr>
          <a:xfrm>
            <a:off x="4271358" y="1933206"/>
            <a:ext cx="4616494" cy="166199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5400" b="0" i="0" u="none" strike="noStrike" kern="1200" cap="none" spc="0" normalizeH="0" baseline="0" noProof="0">
                <a:ln>
                  <a:noFill/>
                </a:ln>
                <a:solidFill>
                  <a:srgbClr val="FFFFFF"/>
                </a:solidFill>
                <a:effectLst/>
                <a:uLnTx/>
                <a:uFillTx/>
                <a:latin typeface="BentonSans Light"/>
                <a:ea typeface="+mn-ea"/>
                <a:cs typeface="+mn-cs"/>
              </a:rPr>
              <a:t>NETWORKING BREAK</a:t>
            </a:r>
          </a:p>
        </p:txBody>
      </p:sp>
      <p:cxnSp>
        <p:nvCxnSpPr>
          <p:cNvPr id="8" name="Straight Connector 7">
            <a:extLst>
              <a:ext uri="{FF2B5EF4-FFF2-40B4-BE49-F238E27FC236}">
                <a16:creationId xmlns:a16="http://schemas.microsoft.com/office/drawing/2014/main" id="{F49481BD-283D-D5D6-92CD-48A75977AB1D}"/>
              </a:ext>
            </a:extLst>
          </p:cNvPr>
          <p:cNvCxnSpPr/>
          <p:nvPr/>
        </p:nvCxnSpPr>
        <p:spPr>
          <a:xfrm>
            <a:off x="4271358" y="3916826"/>
            <a:ext cx="1981201"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061D2009-D7EF-D363-3F64-F913F054F1AE}"/>
              </a:ext>
            </a:extLst>
          </p:cNvPr>
          <p:cNvCxnSpPr>
            <a:cxnSpLocks/>
          </p:cNvCxnSpPr>
          <p:nvPr/>
        </p:nvCxnSpPr>
        <p:spPr>
          <a:xfrm>
            <a:off x="3704171" y="2057400"/>
            <a:ext cx="0" cy="27432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1F2746D-786F-1900-43DC-102430A92DDA}"/>
              </a:ext>
            </a:extLst>
          </p:cNvPr>
          <p:cNvSpPr txBox="1"/>
          <p:nvPr/>
        </p:nvSpPr>
        <p:spPr>
          <a:xfrm>
            <a:off x="494399" y="2169595"/>
            <a:ext cx="2847347" cy="2750946"/>
          </a:xfrm>
          <a:prstGeom prst="rect">
            <a:avLst/>
          </a:prstGeom>
          <a:noFill/>
        </p:spPr>
        <p:txBody>
          <a:bodyPr wrap="square" lIns="0" tIns="0" rIns="0" bIns="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0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rPr>
              <a:t>2023</a:t>
            </a:r>
            <a:endParaRPr kumimoji="0" lang="en-US" sz="66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endParaRP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BentonSans Medium" panose="02000603000000020004" pitchFamily="2" charset="0"/>
                <a:ea typeface="+mn-ea"/>
                <a:cs typeface="+mn-cs"/>
              </a:rPr>
              <a:t>EXECUTIV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800" b="0" i="0" u="none" strike="noStrike" kern="1200" cap="none" spc="600" normalizeH="0" baseline="0" noProof="0">
                <a:ln>
                  <a:noFill/>
                </a:ln>
                <a:solidFill>
                  <a:srgbClr val="FFFFFF"/>
                </a:solidFill>
                <a:effectLst/>
                <a:uLnTx/>
                <a:uFillTx/>
                <a:latin typeface="BentonSans Medium" panose="02000603000000020004" pitchFamily="2" charset="0"/>
                <a:ea typeface="+mn-ea"/>
                <a:cs typeface="+mn-cs"/>
              </a:rPr>
              <a:t>BEN</a:t>
            </a:r>
          </a:p>
          <a:p>
            <a:pPr marL="0" marR="0" lvl="0" indent="0" algn="ctr" defTabSz="914400" rtl="0" eaLnBrk="1" fontAlgn="auto" latinLnBrk="0" hangingPunct="1">
              <a:lnSpc>
                <a:spcPct val="50000"/>
              </a:lnSpc>
              <a:spcBef>
                <a:spcPts val="0"/>
              </a:spcBef>
              <a:spcAft>
                <a:spcPts val="0"/>
              </a:spcAft>
              <a:buClrTx/>
              <a:buSzTx/>
              <a:buFontTx/>
              <a:buNone/>
              <a:tabLst/>
              <a:defRPr/>
            </a:pPr>
            <a:r>
              <a:rPr kumimoji="0" lang="en-US" sz="3200" b="0" i="0" u="none" strike="noStrike" kern="1200" cap="none" spc="0" normalizeH="0" baseline="0" noProof="0">
                <a:ln>
                  <a:noFill/>
                </a:ln>
                <a:solidFill>
                  <a:srgbClr val="6AABE4"/>
                </a:solidFill>
                <a:effectLst/>
                <a:uLnTx/>
                <a:uFillTx/>
                <a:latin typeface="BentonSans Light"/>
                <a:ea typeface="+mn-ea"/>
                <a:cs typeface="+mn-cs"/>
              </a:rPr>
              <a:t>Global Forum</a:t>
            </a:r>
          </a:p>
        </p:txBody>
      </p:sp>
    </p:spTree>
    <p:extLst>
      <p:ext uri="{BB962C8B-B14F-4D97-AF65-F5344CB8AC3E}">
        <p14:creationId xmlns:p14="http://schemas.microsoft.com/office/powerpoint/2010/main" val="22167574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rotWithShape="1">
          <a:blip r:embed="rId2"/>
          <a:srcRect l="486" r="39298"/>
          <a:stretch/>
        </p:blipFill>
        <p:spPr>
          <a:xfrm>
            <a:off x="9512187" y="0"/>
            <a:ext cx="2679813" cy="6858000"/>
          </a:xfrm>
          <a:prstGeom prst="rect">
            <a:avLst/>
          </a:prstGeom>
        </p:spPr>
      </p:pic>
      <p:pic>
        <p:nvPicPr>
          <p:cNvPr id="3" name="Picture 2">
            <a:extLst>
              <a:ext uri="{FF2B5EF4-FFF2-40B4-BE49-F238E27FC236}">
                <a16:creationId xmlns:a16="http://schemas.microsoft.com/office/drawing/2014/main" id="{E2E11E99-A81B-C638-28EE-0BC86E7BF2EF}"/>
              </a:ext>
            </a:extLst>
          </p:cNvPr>
          <p:cNvPicPr>
            <a:picLocks noChangeAspect="1"/>
          </p:cNvPicPr>
          <p:nvPr/>
        </p:nvPicPr>
        <p:blipFill rotWithShape="1">
          <a:blip r:embed="rId2"/>
          <a:srcRect l="29541" r="8954"/>
          <a:stretch/>
        </p:blipFill>
        <p:spPr>
          <a:xfrm>
            <a:off x="0" y="0"/>
            <a:ext cx="2737184" cy="6858000"/>
          </a:xfrm>
          <a:prstGeom prst="rect">
            <a:avLst/>
          </a:prstGeom>
        </p:spPr>
      </p:pic>
      <p:sp>
        <p:nvSpPr>
          <p:cNvPr id="10" name="TextBox 9">
            <a:extLst>
              <a:ext uri="{FF2B5EF4-FFF2-40B4-BE49-F238E27FC236}">
                <a16:creationId xmlns:a16="http://schemas.microsoft.com/office/drawing/2014/main" id="{7C123359-7C73-5C0C-3883-B003884F02E2}"/>
              </a:ext>
            </a:extLst>
          </p:cNvPr>
          <p:cNvSpPr txBox="1"/>
          <p:nvPr/>
        </p:nvSpPr>
        <p:spPr>
          <a:xfrm>
            <a:off x="4672326" y="1933494"/>
            <a:ext cx="2847347" cy="2991012"/>
          </a:xfrm>
          <a:prstGeom prst="rect">
            <a:avLst/>
          </a:prstGeom>
          <a:noFill/>
        </p:spPr>
        <p:txBody>
          <a:bodyPr wrap="square" lIns="0" tIns="0" rIns="0" bIns="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8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rPr>
              <a:t>2023</a:t>
            </a:r>
            <a:endParaRPr kumimoji="0" lang="en-US" sz="66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endParaRP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BentonSans Medium" panose="02000603000000020004" pitchFamily="2" charset="0"/>
                <a:ea typeface="+mn-ea"/>
                <a:cs typeface="+mn-cs"/>
              </a:rPr>
              <a:t>EXECUTIV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600" b="0" i="0" u="none" strike="noStrike" kern="1200" cap="none" spc="600" normalizeH="0" baseline="0" noProof="0">
                <a:ln>
                  <a:noFill/>
                </a:ln>
                <a:solidFill>
                  <a:srgbClr val="FFFFFF"/>
                </a:solidFill>
                <a:effectLst/>
                <a:uLnTx/>
                <a:uFillTx/>
                <a:latin typeface="BentonSans Medium" panose="02000603000000020004" pitchFamily="2" charset="0"/>
                <a:ea typeface="+mn-ea"/>
                <a:cs typeface="+mn-cs"/>
              </a:rPr>
              <a:t>BEN</a:t>
            </a:r>
          </a:p>
          <a:p>
            <a:pPr marL="0" marR="0" lvl="0" indent="0" algn="ctr" defTabSz="914400" rtl="0" eaLnBrk="1" fontAlgn="auto" latinLnBrk="0" hangingPunct="1">
              <a:lnSpc>
                <a:spcPct val="50000"/>
              </a:lnSpc>
              <a:spcBef>
                <a:spcPts val="0"/>
              </a:spcBef>
              <a:spcAft>
                <a:spcPts val="0"/>
              </a:spcAft>
              <a:buClrTx/>
              <a:buSzTx/>
              <a:buFontTx/>
              <a:buNone/>
              <a:tabLst/>
              <a:defRPr/>
            </a:pPr>
            <a:r>
              <a:rPr kumimoji="0" lang="en-US" sz="3600" b="0" i="0" u="none" strike="noStrike" kern="1200" cap="none" spc="0" normalizeH="0" baseline="0" noProof="0">
                <a:ln>
                  <a:noFill/>
                </a:ln>
                <a:solidFill>
                  <a:srgbClr val="6AABE4"/>
                </a:solidFill>
                <a:effectLst/>
                <a:uLnTx/>
                <a:uFillTx/>
                <a:latin typeface="BentonSans Light"/>
                <a:ea typeface="+mn-ea"/>
                <a:cs typeface="+mn-cs"/>
              </a:rPr>
              <a:t>Global Forum</a:t>
            </a:r>
          </a:p>
        </p:txBody>
      </p:sp>
    </p:spTree>
    <p:extLst>
      <p:ext uri="{BB962C8B-B14F-4D97-AF65-F5344CB8AC3E}">
        <p14:creationId xmlns:p14="http://schemas.microsoft.com/office/powerpoint/2010/main" val="5274356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CB81481C-517A-2C09-FDD9-DE8D25AE977F}"/>
              </a:ext>
            </a:extLst>
          </p:cNvPr>
          <p:cNvSpPr txBox="1"/>
          <p:nvPr/>
        </p:nvSpPr>
        <p:spPr>
          <a:xfrm>
            <a:off x="6693191" y="5092682"/>
            <a:ext cx="4050633" cy="133882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300" normalizeH="0" baseline="0" noProof="0">
                <a:ln>
                  <a:noFill/>
                </a:ln>
                <a:solidFill>
                  <a:srgbClr val="FFFFFF"/>
                </a:solidFill>
                <a:effectLst/>
                <a:uLnTx/>
                <a:uFillTx/>
                <a:latin typeface="BentonSans Medium" panose="02000603000000020004" pitchFamily="2" charset="0"/>
                <a:ea typeface="+mn-ea"/>
                <a:cs typeface="+mn-cs"/>
              </a:rPr>
              <a:t>ANRÉ WILLIAM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BentonSans Light"/>
                <a:ea typeface="+mn-ea"/>
                <a:cs typeface="+mn-cs"/>
              </a:rPr>
              <a:t>Chief Executive Officer, </a:t>
            </a:r>
            <a:br>
              <a:rPr kumimoji="0" lang="en-US" sz="1800" b="0" i="0" u="none" strike="noStrike" kern="1200" cap="none" spc="0" normalizeH="0" baseline="0" noProof="0">
                <a:ln>
                  <a:noFill/>
                </a:ln>
                <a:solidFill>
                  <a:srgbClr val="FFFFFF"/>
                </a:solidFill>
                <a:effectLst/>
                <a:uLnTx/>
                <a:uFillTx/>
                <a:latin typeface="BentonSans Light"/>
                <a:ea typeface="+mn-ea"/>
                <a:cs typeface="+mn-cs"/>
              </a:rPr>
            </a:br>
            <a:r>
              <a:rPr kumimoji="0" lang="en-US" sz="1800" b="0" i="0" u="none" strike="noStrike" kern="1200" cap="none" spc="0" normalizeH="0" baseline="0" noProof="0">
                <a:ln>
                  <a:noFill/>
                </a:ln>
                <a:solidFill>
                  <a:srgbClr val="FFFFFF"/>
                </a:solidFill>
                <a:effectLst/>
                <a:uLnTx/>
                <a:uFillTx/>
                <a:latin typeface="BentonSans Light"/>
                <a:ea typeface="+mn-ea"/>
                <a:cs typeface="+mn-cs"/>
              </a:rPr>
              <a:t>American Express National Bank, and Group President, Enterprise Services</a:t>
            </a:r>
          </a:p>
        </p:txBody>
      </p:sp>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rotWithShape="1">
          <a:blip r:embed="rId2"/>
          <a:srcRect t="45952"/>
          <a:stretch/>
        </p:blipFill>
        <p:spPr>
          <a:xfrm>
            <a:off x="0" y="1545691"/>
            <a:ext cx="3937407" cy="3279402"/>
          </a:xfrm>
          <a:prstGeom prst="rect">
            <a:avLst/>
          </a:prstGeom>
        </p:spPr>
      </p:pic>
      <p:sp>
        <p:nvSpPr>
          <p:cNvPr id="7" name="TextBox 6">
            <a:extLst>
              <a:ext uri="{FF2B5EF4-FFF2-40B4-BE49-F238E27FC236}">
                <a16:creationId xmlns:a16="http://schemas.microsoft.com/office/drawing/2014/main" id="{E908AC03-8CCE-CA04-4404-13D317BA498F}"/>
              </a:ext>
            </a:extLst>
          </p:cNvPr>
          <p:cNvSpPr txBox="1"/>
          <p:nvPr/>
        </p:nvSpPr>
        <p:spPr>
          <a:xfrm>
            <a:off x="597245" y="448048"/>
            <a:ext cx="4899312" cy="664797"/>
          </a:xfrm>
          <a:prstGeom prst="rect">
            <a:avLst/>
          </a:prstGeom>
          <a:noFill/>
        </p:spPr>
        <p:txBody>
          <a:bodyPr wrap="square" lIns="0" tIns="0" rIns="0" bIns="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a:ln>
                  <a:noFill/>
                </a:ln>
                <a:solidFill>
                  <a:srgbClr val="FFFFFF"/>
                </a:solidFill>
                <a:effectLst/>
                <a:uLnTx/>
                <a:uFillTx/>
                <a:latin typeface="BentonSans Light"/>
                <a:ea typeface="+mn-ea"/>
                <a:cs typeface="+mn-cs"/>
              </a:rPr>
              <a:t>FIRESIDE CHAT</a:t>
            </a:r>
          </a:p>
        </p:txBody>
      </p:sp>
      <p:pic>
        <p:nvPicPr>
          <p:cNvPr id="9" name="Picture 8">
            <a:extLst>
              <a:ext uri="{FF2B5EF4-FFF2-40B4-BE49-F238E27FC236}">
                <a16:creationId xmlns:a16="http://schemas.microsoft.com/office/drawing/2014/main" id="{FA9091A2-390C-9288-0AFB-BB2FDE753833}"/>
              </a:ext>
            </a:extLst>
          </p:cNvPr>
          <p:cNvPicPr>
            <a:picLocks noChangeAspect="1"/>
          </p:cNvPicPr>
          <p:nvPr/>
        </p:nvPicPr>
        <p:blipFill>
          <a:blip r:embed="rId3"/>
          <a:stretch>
            <a:fillRect/>
          </a:stretch>
        </p:blipFill>
        <p:spPr>
          <a:xfrm>
            <a:off x="10998805" y="207293"/>
            <a:ext cx="933765" cy="1102925"/>
          </a:xfrm>
          <a:prstGeom prst="rect">
            <a:avLst/>
          </a:prstGeom>
        </p:spPr>
      </p:pic>
      <p:sp>
        <p:nvSpPr>
          <p:cNvPr id="13" name="TextBox 12">
            <a:extLst>
              <a:ext uri="{FF2B5EF4-FFF2-40B4-BE49-F238E27FC236}">
                <a16:creationId xmlns:a16="http://schemas.microsoft.com/office/drawing/2014/main" id="{56266A6D-F8EC-E16E-0B06-260128374D9B}"/>
              </a:ext>
            </a:extLst>
          </p:cNvPr>
          <p:cNvSpPr txBox="1"/>
          <p:nvPr/>
        </p:nvSpPr>
        <p:spPr>
          <a:xfrm>
            <a:off x="2201898" y="5092682"/>
            <a:ext cx="4050633" cy="106182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300" normalizeH="0" baseline="0" noProof="0">
                <a:ln>
                  <a:noFill/>
                </a:ln>
                <a:solidFill>
                  <a:srgbClr val="FFFFFF"/>
                </a:solidFill>
                <a:effectLst/>
                <a:uLnTx/>
                <a:uFillTx/>
                <a:latin typeface="BentonSans Medium" panose="02000603000000020004" pitchFamily="2" charset="0"/>
                <a:ea typeface="+mn-ea"/>
                <a:cs typeface="+mn-cs"/>
              </a:rPr>
              <a:t>CHARLES PHILLIP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BentonSans Light"/>
                <a:ea typeface="+mn-ea"/>
                <a:cs typeface="+mn-cs"/>
              </a:rPr>
              <a:t>Managing Partner, </a:t>
            </a:r>
            <a:br>
              <a:rPr kumimoji="0" lang="en-US" sz="1800" b="0" i="0" u="none" strike="noStrike" kern="1200" cap="none" spc="0" normalizeH="0" baseline="0" noProof="0">
                <a:ln>
                  <a:noFill/>
                </a:ln>
                <a:solidFill>
                  <a:srgbClr val="FFFFFF"/>
                </a:solidFill>
                <a:effectLst/>
                <a:uLnTx/>
                <a:uFillTx/>
                <a:latin typeface="BentonSans Light"/>
                <a:ea typeface="+mn-ea"/>
                <a:cs typeface="+mn-cs"/>
              </a:rPr>
            </a:br>
            <a:r>
              <a:rPr kumimoji="0" lang="en-US" sz="1800" b="0" i="0" u="none" strike="noStrike" kern="1200" cap="none" spc="0" normalizeH="0" baseline="0" noProof="0">
                <a:ln>
                  <a:noFill/>
                </a:ln>
                <a:solidFill>
                  <a:srgbClr val="FFFFFF"/>
                </a:solidFill>
                <a:effectLst/>
                <a:uLnTx/>
                <a:uFillTx/>
                <a:latin typeface="BentonSans Light"/>
                <a:ea typeface="+mn-ea"/>
                <a:cs typeface="+mn-cs"/>
              </a:rPr>
              <a:t>Co-founder RECOGNIZE</a:t>
            </a:r>
          </a:p>
        </p:txBody>
      </p:sp>
      <p:pic>
        <p:nvPicPr>
          <p:cNvPr id="15" name="Picture 14">
            <a:extLst>
              <a:ext uri="{FF2B5EF4-FFF2-40B4-BE49-F238E27FC236}">
                <a16:creationId xmlns:a16="http://schemas.microsoft.com/office/drawing/2014/main" id="{3F16FD49-9C59-95E6-A6C9-4DD625173FCA}"/>
              </a:ext>
            </a:extLst>
          </p:cNvPr>
          <p:cNvPicPr>
            <a:picLocks noChangeAspect="1"/>
          </p:cNvPicPr>
          <p:nvPr/>
        </p:nvPicPr>
        <p:blipFill rotWithShape="1">
          <a:blip r:embed="rId2"/>
          <a:srcRect t="45736" b="216"/>
          <a:stretch/>
        </p:blipFill>
        <p:spPr>
          <a:xfrm>
            <a:off x="2755784" y="1545691"/>
            <a:ext cx="3937407" cy="3279402"/>
          </a:xfrm>
          <a:prstGeom prst="rect">
            <a:avLst/>
          </a:prstGeom>
        </p:spPr>
      </p:pic>
      <p:pic>
        <p:nvPicPr>
          <p:cNvPr id="16" name="Picture 15">
            <a:extLst>
              <a:ext uri="{FF2B5EF4-FFF2-40B4-BE49-F238E27FC236}">
                <a16:creationId xmlns:a16="http://schemas.microsoft.com/office/drawing/2014/main" id="{F4C2B73C-11E4-DCCB-5863-4F64EC30B42A}"/>
              </a:ext>
            </a:extLst>
          </p:cNvPr>
          <p:cNvPicPr>
            <a:picLocks noChangeAspect="1"/>
          </p:cNvPicPr>
          <p:nvPr/>
        </p:nvPicPr>
        <p:blipFill rotWithShape="1">
          <a:blip r:embed="rId2"/>
          <a:srcRect b="45952"/>
          <a:stretch/>
        </p:blipFill>
        <p:spPr>
          <a:xfrm>
            <a:off x="8254593" y="1545691"/>
            <a:ext cx="3937407" cy="3279402"/>
          </a:xfrm>
          <a:prstGeom prst="rect">
            <a:avLst/>
          </a:prstGeom>
        </p:spPr>
      </p:pic>
      <p:pic>
        <p:nvPicPr>
          <p:cNvPr id="5" name="Picture 4" descr="A person in a suit smiling&#10;&#10;Description automatically generated with low confidence">
            <a:extLst>
              <a:ext uri="{FF2B5EF4-FFF2-40B4-BE49-F238E27FC236}">
                <a16:creationId xmlns:a16="http://schemas.microsoft.com/office/drawing/2014/main" id="{DE877FF9-8894-B378-5407-09ECF8CD09AB}"/>
              </a:ext>
            </a:extLst>
          </p:cNvPr>
          <p:cNvPicPr>
            <a:picLocks noChangeAspect="1"/>
          </p:cNvPicPr>
          <p:nvPr/>
        </p:nvPicPr>
        <p:blipFill rotWithShape="1">
          <a:blip r:embed="rId4">
            <a:extLst>
              <a:ext uri="{28A0092B-C50C-407E-A947-70E740481C1C}">
                <a14:useLocalDpi xmlns:a14="http://schemas.microsoft.com/office/drawing/2010/main" val="0"/>
              </a:ext>
            </a:extLst>
          </a:blip>
          <a:srcRect l="-36" t="-242" r="732" b="941"/>
          <a:stretch/>
        </p:blipFill>
        <p:spPr>
          <a:xfrm>
            <a:off x="6693191" y="1545691"/>
            <a:ext cx="3291840" cy="3291840"/>
          </a:xfrm>
          <a:prstGeom prst="rect">
            <a:avLst/>
          </a:prstGeom>
          <a:solidFill>
            <a:schemeClr val="bg1"/>
          </a:solidFill>
        </p:spPr>
      </p:pic>
      <p:pic>
        <p:nvPicPr>
          <p:cNvPr id="2" name="Picture 2" descr="American Express Company - Executive Committee &amp; Directors">
            <a:extLst>
              <a:ext uri="{FF2B5EF4-FFF2-40B4-BE49-F238E27FC236}">
                <a16:creationId xmlns:a16="http://schemas.microsoft.com/office/drawing/2014/main" id="{29A8231B-1B00-678F-B3F0-49A770658D0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01898" y="1547131"/>
            <a:ext cx="3290400" cy="3290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84969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rotWithShape="1">
          <a:blip r:embed="rId2"/>
          <a:srcRect l="486" r="39298"/>
          <a:stretch/>
        </p:blipFill>
        <p:spPr>
          <a:xfrm>
            <a:off x="9512187" y="0"/>
            <a:ext cx="2679813" cy="6858000"/>
          </a:xfrm>
          <a:prstGeom prst="rect">
            <a:avLst/>
          </a:prstGeom>
        </p:spPr>
      </p:pic>
      <p:pic>
        <p:nvPicPr>
          <p:cNvPr id="3" name="Picture 2">
            <a:extLst>
              <a:ext uri="{FF2B5EF4-FFF2-40B4-BE49-F238E27FC236}">
                <a16:creationId xmlns:a16="http://schemas.microsoft.com/office/drawing/2014/main" id="{E2E11E99-A81B-C638-28EE-0BC86E7BF2EF}"/>
              </a:ext>
            </a:extLst>
          </p:cNvPr>
          <p:cNvPicPr>
            <a:picLocks noChangeAspect="1"/>
          </p:cNvPicPr>
          <p:nvPr/>
        </p:nvPicPr>
        <p:blipFill rotWithShape="1">
          <a:blip r:embed="rId2"/>
          <a:srcRect l="29541" r="8954"/>
          <a:stretch/>
        </p:blipFill>
        <p:spPr>
          <a:xfrm>
            <a:off x="0" y="0"/>
            <a:ext cx="2737184" cy="6858000"/>
          </a:xfrm>
          <a:prstGeom prst="rect">
            <a:avLst/>
          </a:prstGeom>
        </p:spPr>
      </p:pic>
      <p:sp>
        <p:nvSpPr>
          <p:cNvPr id="10" name="TextBox 9">
            <a:extLst>
              <a:ext uri="{FF2B5EF4-FFF2-40B4-BE49-F238E27FC236}">
                <a16:creationId xmlns:a16="http://schemas.microsoft.com/office/drawing/2014/main" id="{7C123359-7C73-5C0C-3883-B003884F02E2}"/>
              </a:ext>
            </a:extLst>
          </p:cNvPr>
          <p:cNvSpPr txBox="1"/>
          <p:nvPr/>
        </p:nvSpPr>
        <p:spPr>
          <a:xfrm>
            <a:off x="4672326" y="1933494"/>
            <a:ext cx="2847347" cy="2991012"/>
          </a:xfrm>
          <a:prstGeom prst="rect">
            <a:avLst/>
          </a:prstGeom>
          <a:noFill/>
        </p:spPr>
        <p:txBody>
          <a:bodyPr wrap="square" lIns="0" tIns="0" rIns="0" bIns="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8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rPr>
              <a:t>2023</a:t>
            </a:r>
            <a:endParaRPr kumimoji="0" lang="en-US" sz="66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endParaRP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BentonSans Medium" panose="02000603000000020004" pitchFamily="2" charset="0"/>
                <a:ea typeface="+mn-ea"/>
                <a:cs typeface="+mn-cs"/>
              </a:rPr>
              <a:t>EXECUTIV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600" b="0" i="0" u="none" strike="noStrike" kern="1200" cap="none" spc="600" normalizeH="0" baseline="0" noProof="0">
                <a:ln>
                  <a:noFill/>
                </a:ln>
                <a:solidFill>
                  <a:srgbClr val="FFFFFF"/>
                </a:solidFill>
                <a:effectLst/>
                <a:uLnTx/>
                <a:uFillTx/>
                <a:latin typeface="BentonSans Medium" panose="02000603000000020004" pitchFamily="2" charset="0"/>
                <a:ea typeface="+mn-ea"/>
                <a:cs typeface="+mn-cs"/>
              </a:rPr>
              <a:t>BEN</a:t>
            </a:r>
          </a:p>
          <a:p>
            <a:pPr marL="0" marR="0" lvl="0" indent="0" algn="ctr" defTabSz="914400" rtl="0" eaLnBrk="1" fontAlgn="auto" latinLnBrk="0" hangingPunct="1">
              <a:lnSpc>
                <a:spcPct val="50000"/>
              </a:lnSpc>
              <a:spcBef>
                <a:spcPts val="0"/>
              </a:spcBef>
              <a:spcAft>
                <a:spcPts val="0"/>
              </a:spcAft>
              <a:buClrTx/>
              <a:buSzTx/>
              <a:buFontTx/>
              <a:buNone/>
              <a:tabLst/>
              <a:defRPr/>
            </a:pPr>
            <a:r>
              <a:rPr kumimoji="0" lang="en-US" sz="3600" b="0" i="0" u="none" strike="noStrike" kern="1200" cap="none" spc="0" normalizeH="0" baseline="0" noProof="0">
                <a:ln>
                  <a:noFill/>
                </a:ln>
                <a:solidFill>
                  <a:srgbClr val="6AABE4"/>
                </a:solidFill>
                <a:effectLst/>
                <a:uLnTx/>
                <a:uFillTx/>
                <a:latin typeface="BentonSans Light"/>
                <a:ea typeface="+mn-ea"/>
                <a:cs typeface="+mn-cs"/>
              </a:rPr>
              <a:t>Global Forum</a:t>
            </a:r>
          </a:p>
        </p:txBody>
      </p:sp>
    </p:spTree>
    <p:extLst>
      <p:ext uri="{BB962C8B-B14F-4D97-AF65-F5344CB8AC3E}">
        <p14:creationId xmlns:p14="http://schemas.microsoft.com/office/powerpoint/2010/main" val="19175497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a:blip r:embed="rId2"/>
          <a:stretch>
            <a:fillRect/>
          </a:stretch>
        </p:blipFill>
        <p:spPr>
          <a:xfrm>
            <a:off x="0" y="0"/>
            <a:ext cx="4450342" cy="6858000"/>
          </a:xfrm>
          <a:prstGeom prst="rect">
            <a:avLst/>
          </a:prstGeom>
        </p:spPr>
      </p:pic>
      <p:grpSp>
        <p:nvGrpSpPr>
          <p:cNvPr id="2" name="Group 1">
            <a:extLst>
              <a:ext uri="{FF2B5EF4-FFF2-40B4-BE49-F238E27FC236}">
                <a16:creationId xmlns:a16="http://schemas.microsoft.com/office/drawing/2014/main" id="{4E0343EA-17A5-8309-6516-90A9F9278F90}"/>
              </a:ext>
            </a:extLst>
          </p:cNvPr>
          <p:cNvGrpSpPr/>
          <p:nvPr/>
        </p:nvGrpSpPr>
        <p:grpSpPr>
          <a:xfrm>
            <a:off x="5830139" y="1933206"/>
            <a:ext cx="5517565" cy="3076739"/>
            <a:chOff x="5830139" y="1892189"/>
            <a:chExt cx="5198541" cy="3076739"/>
          </a:xfrm>
        </p:grpSpPr>
        <p:sp>
          <p:nvSpPr>
            <p:cNvPr id="6" name="TextBox 5">
              <a:extLst>
                <a:ext uri="{FF2B5EF4-FFF2-40B4-BE49-F238E27FC236}">
                  <a16:creationId xmlns:a16="http://schemas.microsoft.com/office/drawing/2014/main" id="{3DF89D8B-DCA4-3F76-6E5B-FD1B002BDA17}"/>
                </a:ext>
              </a:extLst>
            </p:cNvPr>
            <p:cNvSpPr txBox="1"/>
            <p:nvPr/>
          </p:nvSpPr>
          <p:spPr>
            <a:xfrm>
              <a:off x="5830140" y="4291820"/>
              <a:ext cx="5198540" cy="67710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200" b="0" i="0" u="none" strike="noStrike" kern="1200" cap="none" spc="300" normalizeH="0" baseline="0" noProof="0">
                  <a:ln>
                    <a:noFill/>
                  </a:ln>
                  <a:solidFill>
                    <a:srgbClr val="FFFFFF"/>
                  </a:solidFill>
                  <a:effectLst/>
                  <a:uLnTx/>
                  <a:uFillTx/>
                  <a:latin typeface="BentonSans Medium" panose="02000603000000020004" pitchFamily="2" charset="0"/>
                  <a:ea typeface="+mn-ea"/>
                  <a:cs typeface="+mn-cs"/>
                </a:rPr>
                <a:t>PLEASE MEET IN THE LOBBY OF THE VESEY STREET ENTRANCE</a:t>
              </a:r>
            </a:p>
          </p:txBody>
        </p:sp>
        <p:sp>
          <p:nvSpPr>
            <p:cNvPr id="7" name="TextBox 6">
              <a:extLst>
                <a:ext uri="{FF2B5EF4-FFF2-40B4-BE49-F238E27FC236}">
                  <a16:creationId xmlns:a16="http://schemas.microsoft.com/office/drawing/2014/main" id="{E908AC03-8CCE-CA04-4404-13D317BA498F}"/>
                </a:ext>
              </a:extLst>
            </p:cNvPr>
            <p:cNvSpPr txBox="1"/>
            <p:nvPr/>
          </p:nvSpPr>
          <p:spPr>
            <a:xfrm>
              <a:off x="5830139" y="1892189"/>
              <a:ext cx="4869815" cy="173893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5400" b="0" i="0" u="none" strike="noStrike" kern="1200" cap="none" spc="0" normalizeH="0" baseline="0" noProof="0">
                  <a:ln>
                    <a:noFill/>
                  </a:ln>
                  <a:solidFill>
                    <a:srgbClr val="FFFFFF"/>
                  </a:solidFill>
                  <a:effectLst/>
                  <a:uLnTx/>
                  <a:uFillTx/>
                  <a:latin typeface="BentonSans Light"/>
                  <a:ea typeface="+mn-ea"/>
                  <a:cs typeface="+mn-cs"/>
                </a:rPr>
                <a:t>DINNE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5400" b="0" i="0" u="none" strike="noStrike" kern="1200" cap="none" spc="0" normalizeH="0" baseline="0" noProof="0">
                  <a:ln>
                    <a:noFill/>
                  </a:ln>
                  <a:solidFill>
                    <a:srgbClr val="FFFFFF"/>
                  </a:solidFill>
                  <a:effectLst/>
                  <a:uLnTx/>
                  <a:uFillTx/>
                  <a:latin typeface="BentonSans Light"/>
                  <a:ea typeface="+mn-ea"/>
                  <a:cs typeface="+mn-cs"/>
                </a:rPr>
                <a:t>RECEPTION</a:t>
              </a:r>
            </a:p>
          </p:txBody>
        </p:sp>
        <p:cxnSp>
          <p:nvCxnSpPr>
            <p:cNvPr id="8" name="Straight Connector 7">
              <a:extLst>
                <a:ext uri="{FF2B5EF4-FFF2-40B4-BE49-F238E27FC236}">
                  <a16:creationId xmlns:a16="http://schemas.microsoft.com/office/drawing/2014/main" id="{F49481BD-283D-D5D6-92CD-48A75977AB1D}"/>
                </a:ext>
              </a:extLst>
            </p:cNvPr>
            <p:cNvCxnSpPr/>
            <p:nvPr/>
          </p:nvCxnSpPr>
          <p:spPr>
            <a:xfrm>
              <a:off x="5830140" y="3875809"/>
              <a:ext cx="1981201"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9" name="Picture 8">
            <a:extLst>
              <a:ext uri="{FF2B5EF4-FFF2-40B4-BE49-F238E27FC236}">
                <a16:creationId xmlns:a16="http://schemas.microsoft.com/office/drawing/2014/main" id="{FA9091A2-390C-9288-0AFB-BB2FDE753833}"/>
              </a:ext>
            </a:extLst>
          </p:cNvPr>
          <p:cNvPicPr>
            <a:picLocks noChangeAspect="1"/>
          </p:cNvPicPr>
          <p:nvPr/>
        </p:nvPicPr>
        <p:blipFill>
          <a:blip r:embed="rId3"/>
          <a:stretch>
            <a:fillRect/>
          </a:stretch>
        </p:blipFill>
        <p:spPr>
          <a:xfrm>
            <a:off x="10998805" y="5506945"/>
            <a:ext cx="933765" cy="1102925"/>
          </a:xfrm>
          <a:prstGeom prst="rect">
            <a:avLst/>
          </a:prstGeom>
        </p:spPr>
      </p:pic>
    </p:spTree>
    <p:extLst>
      <p:ext uri="{BB962C8B-B14F-4D97-AF65-F5344CB8AC3E}">
        <p14:creationId xmlns:p14="http://schemas.microsoft.com/office/powerpoint/2010/main" val="16552235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rotWithShape="1">
          <a:blip r:embed="rId2"/>
          <a:srcRect l="486" r="39298"/>
          <a:stretch/>
        </p:blipFill>
        <p:spPr>
          <a:xfrm>
            <a:off x="9512187" y="0"/>
            <a:ext cx="2679813" cy="6858000"/>
          </a:xfrm>
          <a:prstGeom prst="rect">
            <a:avLst/>
          </a:prstGeom>
        </p:spPr>
      </p:pic>
      <p:pic>
        <p:nvPicPr>
          <p:cNvPr id="3" name="Picture 2">
            <a:extLst>
              <a:ext uri="{FF2B5EF4-FFF2-40B4-BE49-F238E27FC236}">
                <a16:creationId xmlns:a16="http://schemas.microsoft.com/office/drawing/2014/main" id="{E2E11E99-A81B-C638-28EE-0BC86E7BF2EF}"/>
              </a:ext>
            </a:extLst>
          </p:cNvPr>
          <p:cNvPicPr>
            <a:picLocks noChangeAspect="1"/>
          </p:cNvPicPr>
          <p:nvPr/>
        </p:nvPicPr>
        <p:blipFill rotWithShape="1">
          <a:blip r:embed="rId2"/>
          <a:srcRect l="29541" r="8954"/>
          <a:stretch/>
        </p:blipFill>
        <p:spPr>
          <a:xfrm>
            <a:off x="0" y="0"/>
            <a:ext cx="2737184" cy="6858000"/>
          </a:xfrm>
          <a:prstGeom prst="rect">
            <a:avLst/>
          </a:prstGeom>
        </p:spPr>
      </p:pic>
      <p:sp>
        <p:nvSpPr>
          <p:cNvPr id="10" name="TextBox 9">
            <a:extLst>
              <a:ext uri="{FF2B5EF4-FFF2-40B4-BE49-F238E27FC236}">
                <a16:creationId xmlns:a16="http://schemas.microsoft.com/office/drawing/2014/main" id="{7C123359-7C73-5C0C-3883-B003884F02E2}"/>
              </a:ext>
            </a:extLst>
          </p:cNvPr>
          <p:cNvSpPr txBox="1"/>
          <p:nvPr/>
        </p:nvSpPr>
        <p:spPr>
          <a:xfrm>
            <a:off x="4672326" y="1933494"/>
            <a:ext cx="2847347" cy="2991012"/>
          </a:xfrm>
          <a:prstGeom prst="rect">
            <a:avLst/>
          </a:prstGeom>
          <a:noFill/>
        </p:spPr>
        <p:txBody>
          <a:bodyPr wrap="square" lIns="0" tIns="0" rIns="0" bIns="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8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rPr>
              <a:t>2023</a:t>
            </a:r>
            <a:endParaRPr kumimoji="0" lang="en-US" sz="66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endParaRP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BentonSans Medium" panose="02000603000000020004" pitchFamily="2" charset="0"/>
                <a:ea typeface="+mn-ea"/>
                <a:cs typeface="+mn-cs"/>
              </a:rPr>
              <a:t>EXECUTIV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600" b="0" i="0" u="none" strike="noStrike" kern="1200" cap="none" spc="600" normalizeH="0" baseline="0" noProof="0">
                <a:ln>
                  <a:noFill/>
                </a:ln>
                <a:solidFill>
                  <a:srgbClr val="FFFFFF"/>
                </a:solidFill>
                <a:effectLst/>
                <a:uLnTx/>
                <a:uFillTx/>
                <a:latin typeface="BentonSans Medium" panose="02000603000000020004" pitchFamily="2" charset="0"/>
                <a:ea typeface="+mn-ea"/>
                <a:cs typeface="+mn-cs"/>
              </a:rPr>
              <a:t>BEN</a:t>
            </a:r>
          </a:p>
          <a:p>
            <a:pPr marL="0" marR="0" lvl="0" indent="0" algn="ctr" defTabSz="914400" rtl="0" eaLnBrk="1" fontAlgn="auto" latinLnBrk="0" hangingPunct="1">
              <a:lnSpc>
                <a:spcPct val="50000"/>
              </a:lnSpc>
              <a:spcBef>
                <a:spcPts val="0"/>
              </a:spcBef>
              <a:spcAft>
                <a:spcPts val="0"/>
              </a:spcAft>
              <a:buClrTx/>
              <a:buSzTx/>
              <a:buFontTx/>
              <a:buNone/>
              <a:tabLst/>
              <a:defRPr/>
            </a:pPr>
            <a:r>
              <a:rPr kumimoji="0" lang="en-US" sz="3600" b="0" i="0" u="none" strike="noStrike" kern="1200" cap="none" spc="0" normalizeH="0" baseline="0" noProof="0">
                <a:ln>
                  <a:noFill/>
                </a:ln>
                <a:solidFill>
                  <a:srgbClr val="6AABE4"/>
                </a:solidFill>
                <a:effectLst/>
                <a:uLnTx/>
                <a:uFillTx/>
                <a:latin typeface="BentonSans Light"/>
                <a:ea typeface="+mn-ea"/>
                <a:cs typeface="+mn-cs"/>
              </a:rPr>
              <a:t>Global Forum</a:t>
            </a:r>
          </a:p>
        </p:txBody>
      </p:sp>
    </p:spTree>
    <p:extLst>
      <p:ext uri="{BB962C8B-B14F-4D97-AF65-F5344CB8AC3E}">
        <p14:creationId xmlns:p14="http://schemas.microsoft.com/office/powerpoint/2010/main" val="38797593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CB81481C-517A-2C09-FDD9-DE8D25AE977F}"/>
              </a:ext>
            </a:extLst>
          </p:cNvPr>
          <p:cNvSpPr txBox="1"/>
          <p:nvPr/>
        </p:nvSpPr>
        <p:spPr>
          <a:xfrm>
            <a:off x="2201899" y="5092682"/>
            <a:ext cx="3291840" cy="106182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300" normalizeH="0" baseline="0" noProof="0">
                <a:ln>
                  <a:noFill/>
                </a:ln>
                <a:solidFill>
                  <a:srgbClr val="FFFFFF"/>
                </a:solidFill>
                <a:effectLst/>
                <a:uLnTx/>
                <a:uFillTx/>
                <a:latin typeface="BentonSans Medium" panose="02000603000000020004" pitchFamily="2" charset="0"/>
                <a:ea typeface="+mn-ea"/>
                <a:cs typeface="+mn-cs"/>
              </a:rPr>
              <a:t>GAYLE KING</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BentonSans Light"/>
                <a:ea typeface="+mn-ea"/>
                <a:cs typeface="+mn-cs"/>
              </a:rPr>
              <a:t>American television personality, author and broadcast journalist</a:t>
            </a:r>
          </a:p>
        </p:txBody>
      </p:sp>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rotWithShape="1">
          <a:blip r:embed="rId2"/>
          <a:srcRect t="45952"/>
          <a:stretch/>
        </p:blipFill>
        <p:spPr>
          <a:xfrm>
            <a:off x="0" y="1545691"/>
            <a:ext cx="3937407" cy="3279402"/>
          </a:xfrm>
          <a:prstGeom prst="rect">
            <a:avLst/>
          </a:prstGeom>
        </p:spPr>
      </p:pic>
      <p:sp>
        <p:nvSpPr>
          <p:cNvPr id="7" name="TextBox 6">
            <a:extLst>
              <a:ext uri="{FF2B5EF4-FFF2-40B4-BE49-F238E27FC236}">
                <a16:creationId xmlns:a16="http://schemas.microsoft.com/office/drawing/2014/main" id="{E908AC03-8CCE-CA04-4404-13D317BA498F}"/>
              </a:ext>
            </a:extLst>
          </p:cNvPr>
          <p:cNvSpPr txBox="1"/>
          <p:nvPr/>
        </p:nvSpPr>
        <p:spPr>
          <a:xfrm>
            <a:off x="597245" y="448048"/>
            <a:ext cx="4899312" cy="664797"/>
          </a:xfrm>
          <a:prstGeom prst="rect">
            <a:avLst/>
          </a:prstGeom>
          <a:noFill/>
        </p:spPr>
        <p:txBody>
          <a:bodyPr wrap="square" lIns="0" tIns="0" rIns="0" bIns="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a:ln>
                  <a:noFill/>
                </a:ln>
                <a:solidFill>
                  <a:srgbClr val="FFFFFF"/>
                </a:solidFill>
                <a:effectLst/>
                <a:uLnTx/>
                <a:uFillTx/>
                <a:latin typeface="BentonSans Light"/>
                <a:ea typeface="+mn-ea"/>
                <a:cs typeface="+mn-cs"/>
              </a:rPr>
              <a:t>FIRESIDE CHAT</a:t>
            </a:r>
          </a:p>
        </p:txBody>
      </p:sp>
      <p:pic>
        <p:nvPicPr>
          <p:cNvPr id="9" name="Picture 8">
            <a:extLst>
              <a:ext uri="{FF2B5EF4-FFF2-40B4-BE49-F238E27FC236}">
                <a16:creationId xmlns:a16="http://schemas.microsoft.com/office/drawing/2014/main" id="{FA9091A2-390C-9288-0AFB-BB2FDE753833}"/>
              </a:ext>
            </a:extLst>
          </p:cNvPr>
          <p:cNvPicPr>
            <a:picLocks noChangeAspect="1"/>
          </p:cNvPicPr>
          <p:nvPr/>
        </p:nvPicPr>
        <p:blipFill>
          <a:blip r:embed="rId3"/>
          <a:stretch>
            <a:fillRect/>
          </a:stretch>
        </p:blipFill>
        <p:spPr>
          <a:xfrm>
            <a:off x="10998805" y="207293"/>
            <a:ext cx="933765" cy="1102925"/>
          </a:xfrm>
          <a:prstGeom prst="rect">
            <a:avLst/>
          </a:prstGeom>
        </p:spPr>
      </p:pic>
      <p:sp>
        <p:nvSpPr>
          <p:cNvPr id="13" name="TextBox 12">
            <a:extLst>
              <a:ext uri="{FF2B5EF4-FFF2-40B4-BE49-F238E27FC236}">
                <a16:creationId xmlns:a16="http://schemas.microsoft.com/office/drawing/2014/main" id="{56266A6D-F8EC-E16E-0B06-260128374D9B}"/>
              </a:ext>
            </a:extLst>
          </p:cNvPr>
          <p:cNvSpPr txBox="1"/>
          <p:nvPr/>
        </p:nvSpPr>
        <p:spPr>
          <a:xfrm>
            <a:off x="6698263" y="5092682"/>
            <a:ext cx="4753431" cy="106182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300" normalizeH="0" baseline="0" noProof="0">
                <a:ln>
                  <a:noFill/>
                </a:ln>
                <a:solidFill>
                  <a:srgbClr val="FFFFFF"/>
                </a:solidFill>
                <a:effectLst/>
                <a:uLnTx/>
                <a:uFillTx/>
                <a:latin typeface="BentonSans Medium" panose="02000603000000020004" pitchFamily="2" charset="0"/>
                <a:ea typeface="+mn-ea"/>
                <a:cs typeface="+mn-cs"/>
              </a:rPr>
              <a:t>GLENDA MCNE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BentonSans Light"/>
                <a:ea typeface="+mn-ea"/>
                <a:cs typeface="+mn-cs"/>
              </a:rPr>
              <a:t>Presid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BentonSans Light"/>
                <a:ea typeface="+mn-ea"/>
                <a:cs typeface="+mn-cs"/>
              </a:rPr>
              <a:t>Enterprise Strategic Partnerships</a:t>
            </a:r>
          </a:p>
        </p:txBody>
      </p:sp>
      <p:pic>
        <p:nvPicPr>
          <p:cNvPr id="15" name="Picture 14">
            <a:extLst>
              <a:ext uri="{FF2B5EF4-FFF2-40B4-BE49-F238E27FC236}">
                <a16:creationId xmlns:a16="http://schemas.microsoft.com/office/drawing/2014/main" id="{3F16FD49-9C59-95E6-A6C9-4DD625173FCA}"/>
              </a:ext>
            </a:extLst>
          </p:cNvPr>
          <p:cNvPicPr>
            <a:picLocks noChangeAspect="1"/>
          </p:cNvPicPr>
          <p:nvPr/>
        </p:nvPicPr>
        <p:blipFill rotWithShape="1">
          <a:blip r:embed="rId2"/>
          <a:srcRect t="45736" b="216"/>
          <a:stretch/>
        </p:blipFill>
        <p:spPr>
          <a:xfrm>
            <a:off x="2755784" y="1545691"/>
            <a:ext cx="3937407" cy="3279402"/>
          </a:xfrm>
          <a:prstGeom prst="rect">
            <a:avLst/>
          </a:prstGeom>
        </p:spPr>
      </p:pic>
      <p:pic>
        <p:nvPicPr>
          <p:cNvPr id="16" name="Picture 15">
            <a:extLst>
              <a:ext uri="{FF2B5EF4-FFF2-40B4-BE49-F238E27FC236}">
                <a16:creationId xmlns:a16="http://schemas.microsoft.com/office/drawing/2014/main" id="{F4C2B73C-11E4-DCCB-5863-4F64EC30B42A}"/>
              </a:ext>
            </a:extLst>
          </p:cNvPr>
          <p:cNvPicPr>
            <a:picLocks noChangeAspect="1"/>
          </p:cNvPicPr>
          <p:nvPr/>
        </p:nvPicPr>
        <p:blipFill rotWithShape="1">
          <a:blip r:embed="rId2"/>
          <a:srcRect b="45952"/>
          <a:stretch/>
        </p:blipFill>
        <p:spPr>
          <a:xfrm>
            <a:off x="8254593" y="1545691"/>
            <a:ext cx="3937407" cy="3279402"/>
          </a:xfrm>
          <a:prstGeom prst="rect">
            <a:avLst/>
          </a:prstGeom>
        </p:spPr>
      </p:pic>
      <p:pic>
        <p:nvPicPr>
          <p:cNvPr id="3074" name="Picture 2" descr="Gayle King - Concordia">
            <a:extLst>
              <a:ext uri="{FF2B5EF4-FFF2-40B4-BE49-F238E27FC236}">
                <a16:creationId xmlns:a16="http://schemas.microsoft.com/office/drawing/2014/main" id="{BECAB07A-9DE0-BB31-1E58-89B0B91529A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959" t="1976" r="19363" b="30346"/>
          <a:stretch/>
        </p:blipFill>
        <p:spPr bwMode="auto">
          <a:xfrm>
            <a:off x="2201898" y="1533253"/>
            <a:ext cx="3291840" cy="329184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rofile photo of Glenda McNeal">
            <a:extLst>
              <a:ext uri="{FF2B5EF4-FFF2-40B4-BE49-F238E27FC236}">
                <a16:creationId xmlns:a16="http://schemas.microsoft.com/office/drawing/2014/main" id="{A0A97C1F-0083-2EC1-77F1-80CE02D5B98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98262" y="1545691"/>
            <a:ext cx="3291840" cy="33042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71479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rotWithShape="1">
          <a:blip r:embed="rId2"/>
          <a:srcRect l="486" r="39298"/>
          <a:stretch/>
        </p:blipFill>
        <p:spPr>
          <a:xfrm>
            <a:off x="9512187" y="0"/>
            <a:ext cx="2679813" cy="6858000"/>
          </a:xfrm>
          <a:prstGeom prst="rect">
            <a:avLst/>
          </a:prstGeom>
        </p:spPr>
      </p:pic>
      <p:pic>
        <p:nvPicPr>
          <p:cNvPr id="3" name="Picture 2">
            <a:extLst>
              <a:ext uri="{FF2B5EF4-FFF2-40B4-BE49-F238E27FC236}">
                <a16:creationId xmlns:a16="http://schemas.microsoft.com/office/drawing/2014/main" id="{E2E11E99-A81B-C638-28EE-0BC86E7BF2EF}"/>
              </a:ext>
            </a:extLst>
          </p:cNvPr>
          <p:cNvPicPr>
            <a:picLocks noChangeAspect="1"/>
          </p:cNvPicPr>
          <p:nvPr/>
        </p:nvPicPr>
        <p:blipFill rotWithShape="1">
          <a:blip r:embed="rId2"/>
          <a:srcRect l="29541" r="8954"/>
          <a:stretch/>
        </p:blipFill>
        <p:spPr>
          <a:xfrm>
            <a:off x="0" y="0"/>
            <a:ext cx="2737184" cy="6858000"/>
          </a:xfrm>
          <a:prstGeom prst="rect">
            <a:avLst/>
          </a:prstGeom>
        </p:spPr>
      </p:pic>
      <p:sp>
        <p:nvSpPr>
          <p:cNvPr id="10" name="TextBox 9">
            <a:extLst>
              <a:ext uri="{FF2B5EF4-FFF2-40B4-BE49-F238E27FC236}">
                <a16:creationId xmlns:a16="http://schemas.microsoft.com/office/drawing/2014/main" id="{7C123359-7C73-5C0C-3883-B003884F02E2}"/>
              </a:ext>
            </a:extLst>
          </p:cNvPr>
          <p:cNvSpPr txBox="1"/>
          <p:nvPr/>
        </p:nvSpPr>
        <p:spPr>
          <a:xfrm>
            <a:off x="4672326" y="1933494"/>
            <a:ext cx="2847347" cy="2991012"/>
          </a:xfrm>
          <a:prstGeom prst="rect">
            <a:avLst/>
          </a:prstGeom>
          <a:noFill/>
        </p:spPr>
        <p:txBody>
          <a:bodyPr wrap="square" lIns="0" tIns="0" rIns="0" bIns="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8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rPr>
              <a:t>2023</a:t>
            </a:r>
            <a:endParaRPr kumimoji="0" lang="en-US" sz="66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endParaRP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BentonSans Medium" panose="02000603000000020004" pitchFamily="2" charset="0"/>
                <a:ea typeface="+mn-ea"/>
                <a:cs typeface="+mn-cs"/>
              </a:rPr>
              <a:t>EXECUTIV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600" b="0" i="0" u="none" strike="noStrike" kern="1200" cap="none" spc="600" normalizeH="0" baseline="0" noProof="0">
                <a:ln>
                  <a:noFill/>
                </a:ln>
                <a:solidFill>
                  <a:srgbClr val="FFFFFF"/>
                </a:solidFill>
                <a:effectLst/>
                <a:uLnTx/>
                <a:uFillTx/>
                <a:latin typeface="BentonSans Medium" panose="02000603000000020004" pitchFamily="2" charset="0"/>
                <a:ea typeface="+mn-ea"/>
                <a:cs typeface="+mn-cs"/>
              </a:rPr>
              <a:t>BEN</a:t>
            </a:r>
          </a:p>
          <a:p>
            <a:pPr marL="0" marR="0" lvl="0" indent="0" algn="ctr" defTabSz="914400" rtl="0" eaLnBrk="1" fontAlgn="auto" latinLnBrk="0" hangingPunct="1">
              <a:lnSpc>
                <a:spcPct val="50000"/>
              </a:lnSpc>
              <a:spcBef>
                <a:spcPts val="0"/>
              </a:spcBef>
              <a:spcAft>
                <a:spcPts val="0"/>
              </a:spcAft>
              <a:buClrTx/>
              <a:buSzTx/>
              <a:buFontTx/>
              <a:buNone/>
              <a:tabLst/>
              <a:defRPr/>
            </a:pPr>
            <a:r>
              <a:rPr kumimoji="0" lang="en-US" sz="3600" b="0" i="0" u="none" strike="noStrike" kern="1200" cap="none" spc="0" normalizeH="0" baseline="0" noProof="0">
                <a:ln>
                  <a:noFill/>
                </a:ln>
                <a:solidFill>
                  <a:srgbClr val="6AABE4"/>
                </a:solidFill>
                <a:effectLst/>
                <a:uLnTx/>
                <a:uFillTx/>
                <a:latin typeface="BentonSans Light"/>
                <a:ea typeface="+mn-ea"/>
                <a:cs typeface="+mn-cs"/>
              </a:rPr>
              <a:t>Global Forum</a:t>
            </a:r>
          </a:p>
        </p:txBody>
      </p:sp>
    </p:spTree>
    <p:extLst>
      <p:ext uri="{BB962C8B-B14F-4D97-AF65-F5344CB8AC3E}">
        <p14:creationId xmlns:p14="http://schemas.microsoft.com/office/powerpoint/2010/main" val="6836749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CB81481C-517A-2C09-FDD9-DE8D25AE977F}"/>
              </a:ext>
            </a:extLst>
          </p:cNvPr>
          <p:cNvSpPr txBox="1"/>
          <p:nvPr/>
        </p:nvSpPr>
        <p:spPr>
          <a:xfrm>
            <a:off x="2201898" y="5092682"/>
            <a:ext cx="4050633" cy="106182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300" normalizeH="0" baseline="0" noProof="0">
                <a:ln>
                  <a:noFill/>
                </a:ln>
                <a:solidFill>
                  <a:srgbClr val="FFFFFF"/>
                </a:solidFill>
                <a:effectLst/>
                <a:uLnTx/>
                <a:uFillTx/>
                <a:latin typeface="BentonSans Medium" panose="02000603000000020004" pitchFamily="2" charset="0"/>
                <a:ea typeface="+mn-ea"/>
                <a:cs typeface="+mn-cs"/>
              </a:rPr>
              <a:t>MARVIN ELLIS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800" b="0" i="0" u="none" strike="noStrike" kern="1200" cap="none" spc="0" normalizeH="0" baseline="0" noProof="0">
                <a:ln>
                  <a:noFill/>
                </a:ln>
                <a:solidFill>
                  <a:srgbClr val="FFFFFF"/>
                </a:solidFill>
                <a:effectLst/>
                <a:uLnTx/>
                <a:uFillTx/>
                <a:latin typeface="BentonSans Light"/>
                <a:ea typeface="+mn-ea"/>
                <a:cs typeface="+mn-cs"/>
              </a:rPr>
              <a:t>Chairman and Chief Executive Officer Lowe’s Companies, Inc</a:t>
            </a:r>
            <a:r>
              <a:rPr kumimoji="0" lang="en-US" sz="1800" b="0" i="0" u="none" strike="noStrike" kern="1200" cap="none" spc="0" normalizeH="0" baseline="0" noProof="0">
                <a:ln>
                  <a:noFill/>
                </a:ln>
                <a:solidFill>
                  <a:srgbClr val="FFFFFF"/>
                </a:solidFill>
                <a:effectLst/>
                <a:uLnTx/>
                <a:uFillTx/>
                <a:latin typeface="BentonSans Light"/>
                <a:ea typeface="+mn-ea"/>
                <a:cs typeface="+mn-cs"/>
              </a:rPr>
              <a:t>, </a:t>
            </a:r>
          </a:p>
        </p:txBody>
      </p:sp>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rotWithShape="1">
          <a:blip r:embed="rId2"/>
          <a:srcRect t="45952"/>
          <a:stretch/>
        </p:blipFill>
        <p:spPr>
          <a:xfrm>
            <a:off x="0" y="1545691"/>
            <a:ext cx="3937407" cy="3279402"/>
          </a:xfrm>
          <a:prstGeom prst="rect">
            <a:avLst/>
          </a:prstGeom>
        </p:spPr>
      </p:pic>
      <p:sp>
        <p:nvSpPr>
          <p:cNvPr id="7" name="TextBox 6">
            <a:extLst>
              <a:ext uri="{FF2B5EF4-FFF2-40B4-BE49-F238E27FC236}">
                <a16:creationId xmlns:a16="http://schemas.microsoft.com/office/drawing/2014/main" id="{E908AC03-8CCE-CA04-4404-13D317BA498F}"/>
              </a:ext>
            </a:extLst>
          </p:cNvPr>
          <p:cNvSpPr txBox="1"/>
          <p:nvPr/>
        </p:nvSpPr>
        <p:spPr>
          <a:xfrm>
            <a:off x="597245" y="448048"/>
            <a:ext cx="4899312" cy="664797"/>
          </a:xfrm>
          <a:prstGeom prst="rect">
            <a:avLst/>
          </a:prstGeom>
          <a:noFill/>
        </p:spPr>
        <p:txBody>
          <a:bodyPr wrap="square" lIns="0" tIns="0" rIns="0" bIns="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a:ln>
                  <a:noFill/>
                </a:ln>
                <a:solidFill>
                  <a:srgbClr val="FFFFFF"/>
                </a:solidFill>
                <a:effectLst/>
                <a:uLnTx/>
                <a:uFillTx/>
                <a:latin typeface="BentonSans Light"/>
                <a:ea typeface="+mn-ea"/>
                <a:cs typeface="+mn-cs"/>
              </a:rPr>
              <a:t>FIRESIDE CHAT</a:t>
            </a:r>
          </a:p>
        </p:txBody>
      </p:sp>
      <p:pic>
        <p:nvPicPr>
          <p:cNvPr id="9" name="Picture 8">
            <a:extLst>
              <a:ext uri="{FF2B5EF4-FFF2-40B4-BE49-F238E27FC236}">
                <a16:creationId xmlns:a16="http://schemas.microsoft.com/office/drawing/2014/main" id="{FA9091A2-390C-9288-0AFB-BB2FDE753833}"/>
              </a:ext>
            </a:extLst>
          </p:cNvPr>
          <p:cNvPicPr>
            <a:picLocks noChangeAspect="1"/>
          </p:cNvPicPr>
          <p:nvPr/>
        </p:nvPicPr>
        <p:blipFill>
          <a:blip r:embed="rId3"/>
          <a:stretch>
            <a:fillRect/>
          </a:stretch>
        </p:blipFill>
        <p:spPr>
          <a:xfrm>
            <a:off x="10998805" y="207293"/>
            <a:ext cx="933765" cy="1102925"/>
          </a:xfrm>
          <a:prstGeom prst="rect">
            <a:avLst/>
          </a:prstGeom>
        </p:spPr>
      </p:pic>
      <p:sp>
        <p:nvSpPr>
          <p:cNvPr id="13" name="TextBox 12">
            <a:extLst>
              <a:ext uri="{FF2B5EF4-FFF2-40B4-BE49-F238E27FC236}">
                <a16:creationId xmlns:a16="http://schemas.microsoft.com/office/drawing/2014/main" id="{56266A6D-F8EC-E16E-0B06-260128374D9B}"/>
              </a:ext>
            </a:extLst>
          </p:cNvPr>
          <p:cNvSpPr txBox="1"/>
          <p:nvPr/>
        </p:nvSpPr>
        <p:spPr>
          <a:xfrm>
            <a:off x="6698263" y="5092682"/>
            <a:ext cx="4753431" cy="106182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300" normalizeH="0" baseline="0" noProof="0">
                <a:ln>
                  <a:noFill/>
                </a:ln>
                <a:solidFill>
                  <a:srgbClr val="FFFFFF"/>
                </a:solidFill>
                <a:effectLst/>
                <a:uLnTx/>
                <a:uFillTx/>
                <a:latin typeface="BentonSans Medium" panose="02000603000000020004" pitchFamily="2" charset="0"/>
                <a:ea typeface="+mn-ea"/>
                <a:cs typeface="+mn-cs"/>
              </a:rPr>
              <a:t>COLLEEN TAYLO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BentonSans Light"/>
                <a:ea typeface="+mn-ea"/>
                <a:cs typeface="+mn-cs"/>
              </a:rPr>
              <a:t>President, </a:t>
            </a:r>
            <a:br>
              <a:rPr kumimoji="0" lang="en-US" sz="1800" b="0" i="0" u="none" strike="noStrike" kern="1200" cap="none" spc="0" normalizeH="0" baseline="0" noProof="0">
                <a:ln>
                  <a:noFill/>
                </a:ln>
                <a:solidFill>
                  <a:srgbClr val="FFFFFF"/>
                </a:solidFill>
                <a:effectLst/>
                <a:uLnTx/>
                <a:uFillTx/>
                <a:latin typeface="BentonSans Light"/>
                <a:ea typeface="+mn-ea"/>
                <a:cs typeface="+mn-cs"/>
              </a:rPr>
            </a:br>
            <a:r>
              <a:rPr kumimoji="0" lang="en-US" sz="1800" b="0" i="0" u="none" strike="noStrike" kern="1200" cap="none" spc="0" normalizeH="0" baseline="0" noProof="0">
                <a:ln>
                  <a:noFill/>
                </a:ln>
                <a:solidFill>
                  <a:srgbClr val="FFFFFF"/>
                </a:solidFill>
                <a:effectLst/>
                <a:uLnTx/>
                <a:uFillTx/>
                <a:latin typeface="BentonSans Light"/>
                <a:ea typeface="+mn-ea"/>
                <a:cs typeface="+mn-cs"/>
              </a:rPr>
              <a:t>US Merchant Services</a:t>
            </a:r>
          </a:p>
        </p:txBody>
      </p:sp>
      <p:pic>
        <p:nvPicPr>
          <p:cNvPr id="15" name="Picture 14">
            <a:extLst>
              <a:ext uri="{FF2B5EF4-FFF2-40B4-BE49-F238E27FC236}">
                <a16:creationId xmlns:a16="http://schemas.microsoft.com/office/drawing/2014/main" id="{3F16FD49-9C59-95E6-A6C9-4DD625173FCA}"/>
              </a:ext>
            </a:extLst>
          </p:cNvPr>
          <p:cNvPicPr>
            <a:picLocks noChangeAspect="1"/>
          </p:cNvPicPr>
          <p:nvPr/>
        </p:nvPicPr>
        <p:blipFill rotWithShape="1">
          <a:blip r:embed="rId2"/>
          <a:srcRect t="45736" b="216"/>
          <a:stretch/>
        </p:blipFill>
        <p:spPr>
          <a:xfrm>
            <a:off x="2755784" y="1545691"/>
            <a:ext cx="3937407" cy="3279402"/>
          </a:xfrm>
          <a:prstGeom prst="rect">
            <a:avLst/>
          </a:prstGeom>
        </p:spPr>
      </p:pic>
      <p:pic>
        <p:nvPicPr>
          <p:cNvPr id="16" name="Picture 15">
            <a:extLst>
              <a:ext uri="{FF2B5EF4-FFF2-40B4-BE49-F238E27FC236}">
                <a16:creationId xmlns:a16="http://schemas.microsoft.com/office/drawing/2014/main" id="{F4C2B73C-11E4-DCCB-5863-4F64EC30B42A}"/>
              </a:ext>
            </a:extLst>
          </p:cNvPr>
          <p:cNvPicPr>
            <a:picLocks noChangeAspect="1"/>
          </p:cNvPicPr>
          <p:nvPr/>
        </p:nvPicPr>
        <p:blipFill rotWithShape="1">
          <a:blip r:embed="rId2"/>
          <a:srcRect b="45952"/>
          <a:stretch/>
        </p:blipFill>
        <p:spPr>
          <a:xfrm>
            <a:off x="8254593" y="1545691"/>
            <a:ext cx="3937407" cy="3279402"/>
          </a:xfrm>
          <a:prstGeom prst="rect">
            <a:avLst/>
          </a:prstGeom>
        </p:spPr>
      </p:pic>
      <p:pic>
        <p:nvPicPr>
          <p:cNvPr id="3" name="Picture 2">
            <a:extLst>
              <a:ext uri="{FF2B5EF4-FFF2-40B4-BE49-F238E27FC236}">
                <a16:creationId xmlns:a16="http://schemas.microsoft.com/office/drawing/2014/main" id="{6EFAC016-2738-0259-8DAD-9A56B7BF3A21}"/>
              </a:ext>
            </a:extLst>
          </p:cNvPr>
          <p:cNvPicPr>
            <a:picLocks noChangeAspect="1"/>
          </p:cNvPicPr>
          <p:nvPr/>
        </p:nvPicPr>
        <p:blipFill rotWithShape="1">
          <a:blip r:embed="rId4">
            <a:extLst>
              <a:ext uri="{28A0092B-C50C-407E-A947-70E740481C1C}">
                <a14:useLocalDpi xmlns:a14="http://schemas.microsoft.com/office/drawing/2010/main" val="0"/>
              </a:ext>
            </a:extLst>
          </a:blip>
          <a:srcRect l="14056" t="11838" r="14261" b="40343"/>
          <a:stretch/>
        </p:blipFill>
        <p:spPr>
          <a:xfrm>
            <a:off x="2201898" y="1545691"/>
            <a:ext cx="3291841" cy="3290400"/>
          </a:xfrm>
          <a:prstGeom prst="rect">
            <a:avLst/>
          </a:prstGeom>
        </p:spPr>
      </p:pic>
      <p:pic>
        <p:nvPicPr>
          <p:cNvPr id="10" name="Picture 9">
            <a:extLst>
              <a:ext uri="{FF2B5EF4-FFF2-40B4-BE49-F238E27FC236}">
                <a16:creationId xmlns:a16="http://schemas.microsoft.com/office/drawing/2014/main" id="{41972A77-F6DC-ACFA-E40E-E3A44CAA5548}"/>
              </a:ext>
            </a:extLst>
          </p:cNvPr>
          <p:cNvPicPr>
            <a:picLocks noChangeAspect="1"/>
          </p:cNvPicPr>
          <p:nvPr/>
        </p:nvPicPr>
        <p:blipFill rotWithShape="1">
          <a:blip r:embed="rId5">
            <a:extLst>
              <a:ext uri="{28A0092B-C50C-407E-A947-70E740481C1C}">
                <a14:useLocalDpi xmlns:a14="http://schemas.microsoft.com/office/drawing/2010/main" val="0"/>
              </a:ext>
            </a:extLst>
          </a:blip>
          <a:srcRect l="-899" t="6112" r="133" b="9650"/>
          <a:stretch/>
        </p:blipFill>
        <p:spPr>
          <a:xfrm>
            <a:off x="6699702" y="1545691"/>
            <a:ext cx="3290400" cy="3290400"/>
          </a:xfrm>
          <a:prstGeom prst="rect">
            <a:avLst/>
          </a:prstGeom>
        </p:spPr>
      </p:pic>
    </p:spTree>
    <p:extLst>
      <p:ext uri="{BB962C8B-B14F-4D97-AF65-F5344CB8AC3E}">
        <p14:creationId xmlns:p14="http://schemas.microsoft.com/office/powerpoint/2010/main" val="25697839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rotWithShape="1">
          <a:blip r:embed="rId2"/>
          <a:srcRect l="486" r="39298"/>
          <a:stretch/>
        </p:blipFill>
        <p:spPr>
          <a:xfrm>
            <a:off x="9512187" y="0"/>
            <a:ext cx="2679813" cy="6858000"/>
          </a:xfrm>
          <a:prstGeom prst="rect">
            <a:avLst/>
          </a:prstGeom>
        </p:spPr>
      </p:pic>
      <p:pic>
        <p:nvPicPr>
          <p:cNvPr id="3" name="Picture 2">
            <a:extLst>
              <a:ext uri="{FF2B5EF4-FFF2-40B4-BE49-F238E27FC236}">
                <a16:creationId xmlns:a16="http://schemas.microsoft.com/office/drawing/2014/main" id="{E2E11E99-A81B-C638-28EE-0BC86E7BF2EF}"/>
              </a:ext>
            </a:extLst>
          </p:cNvPr>
          <p:cNvPicPr>
            <a:picLocks noChangeAspect="1"/>
          </p:cNvPicPr>
          <p:nvPr/>
        </p:nvPicPr>
        <p:blipFill rotWithShape="1">
          <a:blip r:embed="rId2"/>
          <a:srcRect l="29541" r="8954"/>
          <a:stretch/>
        </p:blipFill>
        <p:spPr>
          <a:xfrm>
            <a:off x="0" y="0"/>
            <a:ext cx="2737184" cy="6858000"/>
          </a:xfrm>
          <a:prstGeom prst="rect">
            <a:avLst/>
          </a:prstGeom>
        </p:spPr>
      </p:pic>
      <p:sp>
        <p:nvSpPr>
          <p:cNvPr id="10" name="TextBox 9">
            <a:extLst>
              <a:ext uri="{FF2B5EF4-FFF2-40B4-BE49-F238E27FC236}">
                <a16:creationId xmlns:a16="http://schemas.microsoft.com/office/drawing/2014/main" id="{7C123359-7C73-5C0C-3883-B003884F02E2}"/>
              </a:ext>
            </a:extLst>
          </p:cNvPr>
          <p:cNvSpPr txBox="1"/>
          <p:nvPr/>
        </p:nvSpPr>
        <p:spPr>
          <a:xfrm>
            <a:off x="4672326" y="338328"/>
            <a:ext cx="2847347" cy="749436"/>
          </a:xfrm>
          <a:prstGeom prst="rect">
            <a:avLst/>
          </a:prstGeom>
          <a:noFill/>
        </p:spPr>
        <p:txBody>
          <a:bodyPr wrap="square" lIns="0" tIns="0" rIns="0" bIns="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66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rPr>
              <a:t>2019</a:t>
            </a:r>
            <a:endParaRPr kumimoji="0" lang="en-US" sz="48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endParaRPr>
          </a:p>
        </p:txBody>
      </p:sp>
      <p:pic>
        <p:nvPicPr>
          <p:cNvPr id="5" name="Picture 4" descr="A group of people posing for a photo&#10;&#10;Description automatically generated">
            <a:extLst>
              <a:ext uri="{FF2B5EF4-FFF2-40B4-BE49-F238E27FC236}">
                <a16:creationId xmlns:a16="http://schemas.microsoft.com/office/drawing/2014/main" id="{0D059542-8F26-8DEE-084B-E6873C6EEC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8865" y="1280160"/>
            <a:ext cx="9723228" cy="4553712"/>
          </a:xfrm>
          <a:prstGeom prst="rect">
            <a:avLst/>
          </a:prstGeom>
        </p:spPr>
      </p:pic>
    </p:spTree>
    <p:extLst>
      <p:ext uri="{BB962C8B-B14F-4D97-AF65-F5344CB8AC3E}">
        <p14:creationId xmlns:p14="http://schemas.microsoft.com/office/powerpoint/2010/main" val="23287017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A2B0DFB-C9D0-6ABE-3815-B5DECE6CCC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9583801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3F78152-1900-A70E-3CB7-4EDB569122C3}"/>
              </a:ext>
            </a:extLst>
          </p:cNvPr>
          <p:cNvPicPr>
            <a:picLocks noChangeAspect="1"/>
          </p:cNvPicPr>
          <p:nvPr/>
        </p:nvPicPr>
        <p:blipFill rotWithShape="1">
          <a:blip r:embed="rId2"/>
          <a:srcRect l="345" r="182" b="385"/>
          <a:stretch/>
        </p:blipFill>
        <p:spPr>
          <a:xfrm>
            <a:off x="0" y="0"/>
            <a:ext cx="12191999" cy="6858000"/>
          </a:xfrm>
          <a:prstGeom prst="rect">
            <a:avLst/>
          </a:prstGeom>
        </p:spPr>
      </p:pic>
    </p:spTree>
    <p:extLst>
      <p:ext uri="{BB962C8B-B14F-4D97-AF65-F5344CB8AC3E}">
        <p14:creationId xmlns:p14="http://schemas.microsoft.com/office/powerpoint/2010/main" val="31023002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rotWithShape="1">
          <a:blip r:embed="rId2"/>
          <a:srcRect l="486" r="39298"/>
          <a:stretch/>
        </p:blipFill>
        <p:spPr>
          <a:xfrm>
            <a:off x="9512187" y="0"/>
            <a:ext cx="2679813" cy="6858000"/>
          </a:xfrm>
          <a:prstGeom prst="rect">
            <a:avLst/>
          </a:prstGeom>
        </p:spPr>
      </p:pic>
      <p:pic>
        <p:nvPicPr>
          <p:cNvPr id="3" name="Picture 2">
            <a:extLst>
              <a:ext uri="{FF2B5EF4-FFF2-40B4-BE49-F238E27FC236}">
                <a16:creationId xmlns:a16="http://schemas.microsoft.com/office/drawing/2014/main" id="{E2E11E99-A81B-C638-28EE-0BC86E7BF2EF}"/>
              </a:ext>
            </a:extLst>
          </p:cNvPr>
          <p:cNvPicPr>
            <a:picLocks noChangeAspect="1"/>
          </p:cNvPicPr>
          <p:nvPr/>
        </p:nvPicPr>
        <p:blipFill rotWithShape="1">
          <a:blip r:embed="rId2"/>
          <a:srcRect l="29541" r="8954"/>
          <a:stretch/>
        </p:blipFill>
        <p:spPr>
          <a:xfrm>
            <a:off x="0" y="0"/>
            <a:ext cx="2737184" cy="6858000"/>
          </a:xfrm>
          <a:prstGeom prst="rect">
            <a:avLst/>
          </a:prstGeom>
        </p:spPr>
      </p:pic>
      <p:sp>
        <p:nvSpPr>
          <p:cNvPr id="10" name="TextBox 9">
            <a:extLst>
              <a:ext uri="{FF2B5EF4-FFF2-40B4-BE49-F238E27FC236}">
                <a16:creationId xmlns:a16="http://schemas.microsoft.com/office/drawing/2014/main" id="{7C123359-7C73-5C0C-3883-B003884F02E2}"/>
              </a:ext>
            </a:extLst>
          </p:cNvPr>
          <p:cNvSpPr txBox="1"/>
          <p:nvPr/>
        </p:nvSpPr>
        <p:spPr>
          <a:xfrm>
            <a:off x="4672326" y="1933494"/>
            <a:ext cx="2847347" cy="2991012"/>
          </a:xfrm>
          <a:prstGeom prst="rect">
            <a:avLst/>
          </a:prstGeom>
          <a:noFill/>
        </p:spPr>
        <p:txBody>
          <a:bodyPr wrap="square" lIns="0" tIns="0" rIns="0" bIns="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8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rPr>
              <a:t>2023</a:t>
            </a:r>
            <a:endParaRPr kumimoji="0" lang="en-US" sz="66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endParaRP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BentonSans Medium" panose="02000603000000020004" pitchFamily="2" charset="0"/>
                <a:ea typeface="+mn-ea"/>
                <a:cs typeface="+mn-cs"/>
              </a:rPr>
              <a:t>EXECUTIV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600" b="0" i="0" u="none" strike="noStrike" kern="1200" cap="none" spc="600" normalizeH="0" baseline="0" noProof="0">
                <a:ln>
                  <a:noFill/>
                </a:ln>
                <a:solidFill>
                  <a:srgbClr val="FFFFFF"/>
                </a:solidFill>
                <a:effectLst/>
                <a:uLnTx/>
                <a:uFillTx/>
                <a:latin typeface="BentonSans Medium" panose="02000603000000020004" pitchFamily="2" charset="0"/>
                <a:ea typeface="+mn-ea"/>
                <a:cs typeface="+mn-cs"/>
              </a:rPr>
              <a:t>BEN</a:t>
            </a:r>
          </a:p>
          <a:p>
            <a:pPr marL="0" marR="0" lvl="0" indent="0" algn="ctr" defTabSz="914400" rtl="0" eaLnBrk="1" fontAlgn="auto" latinLnBrk="0" hangingPunct="1">
              <a:lnSpc>
                <a:spcPct val="50000"/>
              </a:lnSpc>
              <a:spcBef>
                <a:spcPts val="0"/>
              </a:spcBef>
              <a:spcAft>
                <a:spcPts val="0"/>
              </a:spcAft>
              <a:buClrTx/>
              <a:buSzTx/>
              <a:buFontTx/>
              <a:buNone/>
              <a:tabLst/>
              <a:defRPr/>
            </a:pPr>
            <a:r>
              <a:rPr kumimoji="0" lang="en-US" sz="3600" b="0" i="0" u="none" strike="noStrike" kern="1200" cap="none" spc="0" normalizeH="0" baseline="0" noProof="0">
                <a:ln>
                  <a:noFill/>
                </a:ln>
                <a:solidFill>
                  <a:srgbClr val="6AABE4"/>
                </a:solidFill>
                <a:effectLst/>
                <a:uLnTx/>
                <a:uFillTx/>
                <a:latin typeface="BentonSans Light"/>
                <a:ea typeface="+mn-ea"/>
                <a:cs typeface="+mn-cs"/>
              </a:rPr>
              <a:t>Global Forum</a:t>
            </a:r>
          </a:p>
        </p:txBody>
      </p:sp>
    </p:spTree>
    <p:extLst>
      <p:ext uri="{BB962C8B-B14F-4D97-AF65-F5344CB8AC3E}">
        <p14:creationId xmlns:p14="http://schemas.microsoft.com/office/powerpoint/2010/main" val="15976985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a:blip r:embed="rId2"/>
          <a:stretch>
            <a:fillRect/>
          </a:stretch>
        </p:blipFill>
        <p:spPr>
          <a:xfrm>
            <a:off x="0" y="0"/>
            <a:ext cx="4450342" cy="6858000"/>
          </a:xfrm>
          <a:prstGeom prst="rect">
            <a:avLst/>
          </a:prstGeom>
        </p:spPr>
      </p:pic>
      <p:sp>
        <p:nvSpPr>
          <p:cNvPr id="6" name="TextBox 5">
            <a:extLst>
              <a:ext uri="{FF2B5EF4-FFF2-40B4-BE49-F238E27FC236}">
                <a16:creationId xmlns:a16="http://schemas.microsoft.com/office/drawing/2014/main" id="{3DF89D8B-DCA4-3F76-6E5B-FD1B002BDA17}"/>
              </a:ext>
            </a:extLst>
          </p:cNvPr>
          <p:cNvSpPr txBox="1"/>
          <p:nvPr/>
        </p:nvSpPr>
        <p:spPr>
          <a:xfrm>
            <a:off x="6456946" y="3859816"/>
            <a:ext cx="4801604" cy="167738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300" normalizeH="0" baseline="0" noProof="0">
                <a:ln>
                  <a:noFill/>
                </a:ln>
                <a:solidFill>
                  <a:srgbClr val="FFFFFF"/>
                </a:solidFill>
                <a:effectLst/>
                <a:uLnTx/>
                <a:uFillTx/>
                <a:latin typeface="BentonSans Medium" panose="02000603000000020004" pitchFamily="2" charset="0"/>
                <a:ea typeface="+mn-ea"/>
                <a:cs typeface="+mn-cs"/>
              </a:rPr>
              <a:t>TODAY’S LUNCH IS CATERED BY MELBA’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a:ln>
                  <a:noFill/>
                </a:ln>
                <a:solidFill>
                  <a:srgbClr val="FFFFFF"/>
                </a:solidFill>
                <a:effectLst/>
                <a:uLnTx/>
                <a:uFillTx/>
                <a:latin typeface="BentonSans Light"/>
                <a:ea typeface="+mn-ea"/>
                <a:cs typeface="+mn-cs"/>
              </a:rPr>
              <a:t>Founded by Melba Wilson, Melba’s opened its doors in Harlem in 2005. It has come to be regarded as the premier comfort food destination in New York City.</a:t>
            </a:r>
            <a:endParaRPr kumimoji="0" lang="en-US" sz="2800" b="0" i="0" u="none" strike="noStrike" kern="1200" cap="none" spc="300" normalizeH="0" baseline="0" noProof="0">
              <a:ln>
                <a:noFill/>
              </a:ln>
              <a:solidFill>
                <a:srgbClr val="FFFFFF"/>
              </a:solidFill>
              <a:effectLst/>
              <a:uLnTx/>
              <a:uFillTx/>
              <a:latin typeface="BentonSans Medium" panose="02000603000000020004" pitchFamily="2" charset="0"/>
              <a:ea typeface="+mn-ea"/>
              <a:cs typeface="+mn-cs"/>
            </a:endParaRPr>
          </a:p>
        </p:txBody>
      </p:sp>
      <p:sp>
        <p:nvSpPr>
          <p:cNvPr id="7" name="TextBox 6">
            <a:extLst>
              <a:ext uri="{FF2B5EF4-FFF2-40B4-BE49-F238E27FC236}">
                <a16:creationId xmlns:a16="http://schemas.microsoft.com/office/drawing/2014/main" id="{E908AC03-8CCE-CA04-4404-13D317BA498F}"/>
              </a:ext>
            </a:extLst>
          </p:cNvPr>
          <p:cNvSpPr txBox="1"/>
          <p:nvPr/>
        </p:nvSpPr>
        <p:spPr>
          <a:xfrm>
            <a:off x="6456945" y="1640306"/>
            <a:ext cx="4125329" cy="1329595"/>
          </a:xfrm>
          <a:prstGeom prst="rect">
            <a:avLst/>
          </a:prstGeom>
          <a:noFill/>
        </p:spPr>
        <p:txBody>
          <a:bodyPr wrap="square" lIns="0" tIns="0" rIns="0" bIns="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a:ln>
                  <a:noFill/>
                </a:ln>
                <a:solidFill>
                  <a:srgbClr val="FFFFFF"/>
                </a:solidFill>
                <a:effectLst/>
                <a:uLnTx/>
                <a:uFillTx/>
                <a:latin typeface="BentonSans Light"/>
                <a:ea typeface="+mn-ea"/>
                <a:cs typeface="+mn-cs"/>
              </a:rPr>
              <a:t>NETWORKING LUNCH</a:t>
            </a:r>
          </a:p>
        </p:txBody>
      </p:sp>
      <p:cxnSp>
        <p:nvCxnSpPr>
          <p:cNvPr id="8" name="Straight Connector 7">
            <a:extLst>
              <a:ext uri="{FF2B5EF4-FFF2-40B4-BE49-F238E27FC236}">
                <a16:creationId xmlns:a16="http://schemas.microsoft.com/office/drawing/2014/main" id="{F49481BD-283D-D5D6-92CD-48A75977AB1D}"/>
              </a:ext>
            </a:extLst>
          </p:cNvPr>
          <p:cNvCxnSpPr/>
          <p:nvPr/>
        </p:nvCxnSpPr>
        <p:spPr>
          <a:xfrm>
            <a:off x="6456946" y="3462855"/>
            <a:ext cx="1981201"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FA9091A2-390C-9288-0AFB-BB2FDE753833}"/>
              </a:ext>
            </a:extLst>
          </p:cNvPr>
          <p:cNvPicPr>
            <a:picLocks noChangeAspect="1"/>
          </p:cNvPicPr>
          <p:nvPr/>
        </p:nvPicPr>
        <p:blipFill>
          <a:blip r:embed="rId3"/>
          <a:stretch>
            <a:fillRect/>
          </a:stretch>
        </p:blipFill>
        <p:spPr>
          <a:xfrm>
            <a:off x="10998805" y="5506945"/>
            <a:ext cx="933765" cy="1102925"/>
          </a:xfrm>
          <a:prstGeom prst="rect">
            <a:avLst/>
          </a:prstGeom>
        </p:spPr>
      </p:pic>
      <p:pic>
        <p:nvPicPr>
          <p:cNvPr id="3076" name="Picture 4" descr="Help Our Neighborhood Restaurants: Find Comfort At Melba's In Harlem">
            <a:extLst>
              <a:ext uri="{FF2B5EF4-FFF2-40B4-BE49-F238E27FC236}">
                <a16:creationId xmlns:a16="http://schemas.microsoft.com/office/drawing/2014/main" id="{4B29B784-EE7A-319C-6F0A-60FEC981A42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000" r="11650" b="12639"/>
          <a:stretch/>
        </p:blipFill>
        <p:spPr bwMode="auto">
          <a:xfrm>
            <a:off x="1184808" y="984849"/>
            <a:ext cx="4550247" cy="507355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26AE5DE3-07C5-0001-7428-3BDBF0E1679A}"/>
              </a:ext>
            </a:extLst>
          </p:cNvPr>
          <p:cNvSpPr txBox="1"/>
          <p:nvPr/>
        </p:nvSpPr>
        <p:spPr>
          <a:xfrm>
            <a:off x="6456945" y="2847046"/>
            <a:ext cx="222564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BentonSans Light"/>
                <a:ea typeface="+mn-ea"/>
                <a:cs typeface="+mn-cs"/>
              </a:rPr>
              <a:t>Rooms 3 &amp; 4</a:t>
            </a:r>
            <a:endParaRPr kumimoji="0" lang="en-GB" sz="1800" b="0" i="0" u="none" strike="noStrike" kern="1200" cap="none" spc="0" normalizeH="0" baseline="0" noProof="0">
              <a:ln>
                <a:noFill/>
              </a:ln>
              <a:solidFill>
                <a:srgbClr val="001E5F"/>
              </a:solidFill>
              <a:effectLst/>
              <a:uLnTx/>
              <a:uFillTx/>
              <a:latin typeface="BentonSans Book"/>
              <a:ea typeface="+mn-ea"/>
              <a:cs typeface="+mn-cs"/>
            </a:endParaRPr>
          </a:p>
        </p:txBody>
      </p:sp>
    </p:spTree>
    <p:extLst>
      <p:ext uri="{BB962C8B-B14F-4D97-AF65-F5344CB8AC3E}">
        <p14:creationId xmlns:p14="http://schemas.microsoft.com/office/powerpoint/2010/main" val="3260336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a:blip r:embed="rId2"/>
          <a:stretch>
            <a:fillRect/>
          </a:stretch>
        </p:blipFill>
        <p:spPr>
          <a:xfrm>
            <a:off x="0" y="0"/>
            <a:ext cx="4450342" cy="6858000"/>
          </a:xfrm>
          <a:prstGeom prst="rect">
            <a:avLst/>
          </a:prstGeom>
        </p:spPr>
      </p:pic>
      <p:grpSp>
        <p:nvGrpSpPr>
          <p:cNvPr id="2" name="Group 1">
            <a:extLst>
              <a:ext uri="{FF2B5EF4-FFF2-40B4-BE49-F238E27FC236}">
                <a16:creationId xmlns:a16="http://schemas.microsoft.com/office/drawing/2014/main" id="{4E0343EA-17A5-8309-6516-90A9F9278F90}"/>
              </a:ext>
            </a:extLst>
          </p:cNvPr>
          <p:cNvGrpSpPr/>
          <p:nvPr/>
        </p:nvGrpSpPr>
        <p:grpSpPr>
          <a:xfrm>
            <a:off x="5830138" y="1933206"/>
            <a:ext cx="5168667" cy="2987819"/>
            <a:chOff x="5830138" y="1892189"/>
            <a:chExt cx="4869816" cy="2987819"/>
          </a:xfrm>
        </p:grpSpPr>
        <p:sp>
          <p:nvSpPr>
            <p:cNvPr id="6" name="TextBox 5">
              <a:extLst>
                <a:ext uri="{FF2B5EF4-FFF2-40B4-BE49-F238E27FC236}">
                  <a16:creationId xmlns:a16="http://schemas.microsoft.com/office/drawing/2014/main" id="{3DF89D8B-DCA4-3F76-6E5B-FD1B002BDA17}"/>
                </a:ext>
              </a:extLst>
            </p:cNvPr>
            <p:cNvSpPr txBox="1"/>
            <p:nvPr/>
          </p:nvSpPr>
          <p:spPr>
            <a:xfrm>
              <a:off x="5830138" y="4202900"/>
              <a:ext cx="4869814" cy="67710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200" b="0" i="0" u="none" strike="noStrike" kern="1200" cap="none" spc="300" normalizeH="0" baseline="0" noProof="0">
                  <a:ln>
                    <a:noFill/>
                  </a:ln>
                  <a:solidFill>
                    <a:srgbClr val="FFFFFF"/>
                  </a:solidFill>
                  <a:effectLst/>
                  <a:uLnTx/>
                  <a:uFillTx/>
                  <a:latin typeface="BentonSans Medium" panose="02000603000000020004" pitchFamily="2" charset="0"/>
                  <a:ea typeface="+mn-ea"/>
                  <a:cs typeface="+mn-cs"/>
                </a:rPr>
                <a:t>PLEASE REFER TO THE APP FOR WORKSHOP ASSIGNMENT</a:t>
              </a:r>
            </a:p>
          </p:txBody>
        </p:sp>
        <p:sp>
          <p:nvSpPr>
            <p:cNvPr id="7" name="TextBox 6">
              <a:extLst>
                <a:ext uri="{FF2B5EF4-FFF2-40B4-BE49-F238E27FC236}">
                  <a16:creationId xmlns:a16="http://schemas.microsoft.com/office/drawing/2014/main" id="{E908AC03-8CCE-CA04-4404-13D317BA498F}"/>
                </a:ext>
              </a:extLst>
            </p:cNvPr>
            <p:cNvSpPr txBox="1"/>
            <p:nvPr/>
          </p:nvSpPr>
          <p:spPr>
            <a:xfrm>
              <a:off x="5830139" y="1892189"/>
              <a:ext cx="4869815" cy="256993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5400" b="0" i="0" u="none" strike="noStrike" kern="1200" cap="none" spc="0" normalizeH="0" baseline="0" noProof="0">
                  <a:ln>
                    <a:noFill/>
                  </a:ln>
                  <a:solidFill>
                    <a:srgbClr val="FFFFFF"/>
                  </a:solidFill>
                  <a:effectLst/>
                  <a:uLnTx/>
                  <a:uFillTx/>
                  <a:latin typeface="BentonSans Light"/>
                  <a:ea typeface="+mn-ea"/>
                  <a:cs typeface="+mn-cs"/>
                </a:rPr>
                <a:t>WORKSHOP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5400" b="0" i="0" u="none" strike="noStrike" kern="1200" cap="none" spc="0" normalizeH="0" baseline="0" noProof="0">
                  <a:ln>
                    <a:noFill/>
                  </a:ln>
                  <a:solidFill>
                    <a:srgbClr val="FFFFFF"/>
                  </a:solidFill>
                  <a:effectLst/>
                  <a:uLnTx/>
                  <a:uFillTx/>
                  <a:latin typeface="BentonSans Light"/>
                  <a:ea typeface="+mn-ea"/>
                  <a:cs typeface="+mn-cs"/>
                </a:rPr>
                <a:t>INTRODUCTION</a:t>
              </a:r>
            </a:p>
          </p:txBody>
        </p:sp>
        <p:cxnSp>
          <p:nvCxnSpPr>
            <p:cNvPr id="8" name="Straight Connector 7">
              <a:extLst>
                <a:ext uri="{FF2B5EF4-FFF2-40B4-BE49-F238E27FC236}">
                  <a16:creationId xmlns:a16="http://schemas.microsoft.com/office/drawing/2014/main" id="{F49481BD-283D-D5D6-92CD-48A75977AB1D}"/>
                </a:ext>
              </a:extLst>
            </p:cNvPr>
            <p:cNvCxnSpPr/>
            <p:nvPr/>
          </p:nvCxnSpPr>
          <p:spPr>
            <a:xfrm>
              <a:off x="5830140" y="3875809"/>
              <a:ext cx="1981201"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9" name="Picture 8">
            <a:extLst>
              <a:ext uri="{FF2B5EF4-FFF2-40B4-BE49-F238E27FC236}">
                <a16:creationId xmlns:a16="http://schemas.microsoft.com/office/drawing/2014/main" id="{FA9091A2-390C-9288-0AFB-BB2FDE753833}"/>
              </a:ext>
            </a:extLst>
          </p:cNvPr>
          <p:cNvPicPr>
            <a:picLocks noChangeAspect="1"/>
          </p:cNvPicPr>
          <p:nvPr/>
        </p:nvPicPr>
        <p:blipFill>
          <a:blip r:embed="rId3"/>
          <a:stretch>
            <a:fillRect/>
          </a:stretch>
        </p:blipFill>
        <p:spPr>
          <a:xfrm>
            <a:off x="10998805" y="5506945"/>
            <a:ext cx="933765" cy="1102925"/>
          </a:xfrm>
          <a:prstGeom prst="rect">
            <a:avLst/>
          </a:prstGeom>
        </p:spPr>
      </p:pic>
      <p:sp>
        <p:nvSpPr>
          <p:cNvPr id="3" name="TextBox 2">
            <a:extLst>
              <a:ext uri="{FF2B5EF4-FFF2-40B4-BE49-F238E27FC236}">
                <a16:creationId xmlns:a16="http://schemas.microsoft.com/office/drawing/2014/main" id="{22FD57CA-0B33-D89B-F1DA-377B7965A0E2}"/>
              </a:ext>
            </a:extLst>
          </p:cNvPr>
          <p:cNvSpPr txBox="1"/>
          <p:nvPr/>
        </p:nvSpPr>
        <p:spPr>
          <a:xfrm>
            <a:off x="5733886" y="5012212"/>
            <a:ext cx="5684082"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BentonSans Light"/>
                <a:ea typeface="+mn-ea"/>
                <a:cs typeface="+mn-cs"/>
              </a:rPr>
              <a:t>Room 1: Leading with Authentic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BentonSans Light"/>
                <a:ea typeface="+mn-ea"/>
                <a:cs typeface="+mn-cs"/>
              </a:rPr>
              <a:t>Room 8A: Navigating Sponsorship Within AX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BentonSans Light"/>
                <a:ea typeface="+mn-ea"/>
                <a:cs typeface="+mn-cs"/>
              </a:rPr>
              <a:t>Room 9: Leading Through Change: Resiliency </a:t>
            </a:r>
          </a:p>
        </p:txBody>
      </p:sp>
    </p:spTree>
    <p:extLst>
      <p:ext uri="{BB962C8B-B14F-4D97-AF65-F5344CB8AC3E}">
        <p14:creationId xmlns:p14="http://schemas.microsoft.com/office/powerpoint/2010/main" val="19835440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rotWithShape="1">
          <a:blip r:embed="rId2"/>
          <a:srcRect l="486" r="39298"/>
          <a:stretch/>
        </p:blipFill>
        <p:spPr>
          <a:xfrm>
            <a:off x="9512187" y="0"/>
            <a:ext cx="2679813" cy="6858000"/>
          </a:xfrm>
          <a:prstGeom prst="rect">
            <a:avLst/>
          </a:prstGeom>
        </p:spPr>
      </p:pic>
      <p:pic>
        <p:nvPicPr>
          <p:cNvPr id="3" name="Picture 2">
            <a:extLst>
              <a:ext uri="{FF2B5EF4-FFF2-40B4-BE49-F238E27FC236}">
                <a16:creationId xmlns:a16="http://schemas.microsoft.com/office/drawing/2014/main" id="{E2E11E99-A81B-C638-28EE-0BC86E7BF2EF}"/>
              </a:ext>
            </a:extLst>
          </p:cNvPr>
          <p:cNvPicPr>
            <a:picLocks noChangeAspect="1"/>
          </p:cNvPicPr>
          <p:nvPr/>
        </p:nvPicPr>
        <p:blipFill rotWithShape="1">
          <a:blip r:embed="rId2"/>
          <a:srcRect l="29541" r="8954"/>
          <a:stretch/>
        </p:blipFill>
        <p:spPr>
          <a:xfrm>
            <a:off x="0" y="0"/>
            <a:ext cx="2737184" cy="6858000"/>
          </a:xfrm>
          <a:prstGeom prst="rect">
            <a:avLst/>
          </a:prstGeom>
        </p:spPr>
      </p:pic>
      <p:sp>
        <p:nvSpPr>
          <p:cNvPr id="10" name="TextBox 9">
            <a:extLst>
              <a:ext uri="{FF2B5EF4-FFF2-40B4-BE49-F238E27FC236}">
                <a16:creationId xmlns:a16="http://schemas.microsoft.com/office/drawing/2014/main" id="{7C123359-7C73-5C0C-3883-B003884F02E2}"/>
              </a:ext>
            </a:extLst>
          </p:cNvPr>
          <p:cNvSpPr txBox="1"/>
          <p:nvPr/>
        </p:nvSpPr>
        <p:spPr>
          <a:xfrm>
            <a:off x="4672326" y="1933494"/>
            <a:ext cx="2847347" cy="2991012"/>
          </a:xfrm>
          <a:prstGeom prst="rect">
            <a:avLst/>
          </a:prstGeom>
          <a:noFill/>
        </p:spPr>
        <p:txBody>
          <a:bodyPr wrap="square" lIns="0" tIns="0" rIns="0" bIns="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8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rPr>
              <a:t>2023</a:t>
            </a:r>
            <a:endParaRPr kumimoji="0" lang="en-US" sz="66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endParaRP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BentonSans Medium" panose="02000603000000020004" pitchFamily="2" charset="0"/>
                <a:ea typeface="+mn-ea"/>
                <a:cs typeface="+mn-cs"/>
              </a:rPr>
              <a:t>EXECUTIV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600" b="0" i="0" u="none" strike="noStrike" kern="1200" cap="none" spc="600" normalizeH="0" baseline="0" noProof="0">
                <a:ln>
                  <a:noFill/>
                </a:ln>
                <a:solidFill>
                  <a:srgbClr val="FFFFFF"/>
                </a:solidFill>
                <a:effectLst/>
                <a:uLnTx/>
                <a:uFillTx/>
                <a:latin typeface="BentonSans Medium" panose="02000603000000020004" pitchFamily="2" charset="0"/>
                <a:ea typeface="+mn-ea"/>
                <a:cs typeface="+mn-cs"/>
              </a:rPr>
              <a:t>BEN</a:t>
            </a:r>
          </a:p>
          <a:p>
            <a:pPr marL="0" marR="0" lvl="0" indent="0" algn="ctr" defTabSz="914400" rtl="0" eaLnBrk="1" fontAlgn="auto" latinLnBrk="0" hangingPunct="1">
              <a:lnSpc>
                <a:spcPct val="50000"/>
              </a:lnSpc>
              <a:spcBef>
                <a:spcPts val="0"/>
              </a:spcBef>
              <a:spcAft>
                <a:spcPts val="0"/>
              </a:spcAft>
              <a:buClrTx/>
              <a:buSzTx/>
              <a:buFontTx/>
              <a:buNone/>
              <a:tabLst/>
              <a:defRPr/>
            </a:pPr>
            <a:r>
              <a:rPr kumimoji="0" lang="en-US" sz="3600" b="0" i="0" u="none" strike="noStrike" kern="1200" cap="none" spc="0" normalizeH="0" baseline="0" noProof="0">
                <a:ln>
                  <a:noFill/>
                </a:ln>
                <a:solidFill>
                  <a:srgbClr val="6AABE4"/>
                </a:solidFill>
                <a:effectLst/>
                <a:uLnTx/>
                <a:uFillTx/>
                <a:latin typeface="BentonSans Light"/>
                <a:ea typeface="+mn-ea"/>
                <a:cs typeface="+mn-cs"/>
              </a:rPr>
              <a:t>Global Forum</a:t>
            </a:r>
          </a:p>
        </p:txBody>
      </p:sp>
    </p:spTree>
    <p:extLst>
      <p:ext uri="{BB962C8B-B14F-4D97-AF65-F5344CB8AC3E}">
        <p14:creationId xmlns:p14="http://schemas.microsoft.com/office/powerpoint/2010/main" val="4436226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a:blip r:embed="rId2"/>
          <a:stretch>
            <a:fillRect/>
          </a:stretch>
        </p:blipFill>
        <p:spPr>
          <a:xfrm>
            <a:off x="0" y="0"/>
            <a:ext cx="4450342" cy="6858000"/>
          </a:xfrm>
          <a:prstGeom prst="rect">
            <a:avLst/>
          </a:prstGeom>
        </p:spPr>
      </p:pic>
      <p:grpSp>
        <p:nvGrpSpPr>
          <p:cNvPr id="2" name="Group 1">
            <a:extLst>
              <a:ext uri="{FF2B5EF4-FFF2-40B4-BE49-F238E27FC236}">
                <a16:creationId xmlns:a16="http://schemas.microsoft.com/office/drawing/2014/main" id="{4E0343EA-17A5-8309-6516-90A9F9278F90}"/>
              </a:ext>
            </a:extLst>
          </p:cNvPr>
          <p:cNvGrpSpPr/>
          <p:nvPr/>
        </p:nvGrpSpPr>
        <p:grpSpPr>
          <a:xfrm>
            <a:off x="5830139" y="1933206"/>
            <a:ext cx="5168666" cy="3569182"/>
            <a:chOff x="5830139" y="1892189"/>
            <a:chExt cx="4869815" cy="3569182"/>
          </a:xfrm>
        </p:grpSpPr>
        <p:sp>
          <p:nvSpPr>
            <p:cNvPr id="6" name="TextBox 5">
              <a:extLst>
                <a:ext uri="{FF2B5EF4-FFF2-40B4-BE49-F238E27FC236}">
                  <a16:creationId xmlns:a16="http://schemas.microsoft.com/office/drawing/2014/main" id="{3DF89D8B-DCA4-3F76-6E5B-FD1B002BDA17}"/>
                </a:ext>
              </a:extLst>
            </p:cNvPr>
            <p:cNvSpPr txBox="1"/>
            <p:nvPr/>
          </p:nvSpPr>
          <p:spPr>
            <a:xfrm>
              <a:off x="5830140" y="4291820"/>
              <a:ext cx="4869814" cy="116955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200" b="0" i="0" u="none" strike="noStrike" kern="1200" cap="none" spc="300" normalizeH="0" baseline="0" noProof="0">
                  <a:ln>
                    <a:noFill/>
                  </a:ln>
                  <a:solidFill>
                    <a:srgbClr val="FFFFFF"/>
                  </a:solidFill>
                  <a:effectLst/>
                  <a:uLnTx/>
                  <a:uFillTx/>
                  <a:latin typeface="BentonSans Medium" panose="02000603000000020004" pitchFamily="2" charset="0"/>
                  <a:ea typeface="+mn-ea"/>
                  <a:cs typeface="+mn-cs"/>
                </a:rPr>
                <a:t>WALTER JACKS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200" b="0" i="0" u="none" strike="noStrike" kern="1200" cap="none" spc="300" normalizeH="0" baseline="0" noProof="0">
                  <a:ln>
                    <a:noFill/>
                  </a:ln>
                  <a:solidFill>
                    <a:srgbClr val="FFFFFF"/>
                  </a:solidFill>
                  <a:effectLst/>
                  <a:uLnTx/>
                  <a:uFillTx/>
                  <a:latin typeface="BentonSans Medium" panose="02000603000000020004" pitchFamily="2" charset="0"/>
                  <a:ea typeface="+mn-ea"/>
                  <a:cs typeface="+mn-cs"/>
                </a:rPr>
                <a:t>JAMAL EPP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200" b="0" i="0" u="none" strike="noStrike" kern="1200" cap="none" spc="300" normalizeH="0" baseline="0" noProof="0">
                  <a:ln>
                    <a:noFill/>
                  </a:ln>
                  <a:solidFill>
                    <a:srgbClr val="FFFFFF"/>
                  </a:solidFill>
                  <a:effectLst/>
                  <a:uLnTx/>
                  <a:uFillTx/>
                  <a:latin typeface="BentonSans Medium" panose="02000603000000020004" pitchFamily="2" charset="0"/>
                  <a:ea typeface="+mn-ea"/>
                  <a:cs typeface="+mn-cs"/>
                </a:rPr>
                <a:t>SARAH DOBBS-BROWN</a:t>
              </a:r>
            </a:p>
          </p:txBody>
        </p:sp>
        <p:sp>
          <p:nvSpPr>
            <p:cNvPr id="7" name="TextBox 6">
              <a:extLst>
                <a:ext uri="{FF2B5EF4-FFF2-40B4-BE49-F238E27FC236}">
                  <a16:creationId xmlns:a16="http://schemas.microsoft.com/office/drawing/2014/main" id="{E908AC03-8CCE-CA04-4404-13D317BA498F}"/>
                </a:ext>
              </a:extLst>
            </p:cNvPr>
            <p:cNvSpPr txBox="1"/>
            <p:nvPr/>
          </p:nvSpPr>
          <p:spPr>
            <a:xfrm>
              <a:off x="5830139" y="1892189"/>
              <a:ext cx="4869815" cy="173893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5400" b="0" i="0" u="none" strike="noStrike" kern="1200" cap="none" spc="0" normalizeH="0" baseline="0" noProof="0">
                  <a:ln>
                    <a:noFill/>
                  </a:ln>
                  <a:solidFill>
                    <a:srgbClr val="FFFFFF"/>
                  </a:solidFill>
                  <a:effectLst/>
                  <a:uLnTx/>
                  <a:uFillTx/>
                  <a:latin typeface="BentonSans Light"/>
                  <a:ea typeface="+mn-ea"/>
                  <a:cs typeface="+mn-cs"/>
                </a:rPr>
                <a:t>EXEC BE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5400" b="0" i="0" u="none" strike="noStrike" kern="1200" cap="none" spc="0" normalizeH="0" baseline="0" noProof="0">
                  <a:ln>
                    <a:noFill/>
                  </a:ln>
                  <a:solidFill>
                    <a:srgbClr val="FFFFFF"/>
                  </a:solidFill>
                  <a:effectLst/>
                  <a:uLnTx/>
                  <a:uFillTx/>
                  <a:latin typeface="BentonSans Light"/>
                  <a:ea typeface="+mn-ea"/>
                  <a:cs typeface="+mn-cs"/>
                </a:rPr>
                <a:t>UNPLUGGED</a:t>
              </a:r>
            </a:p>
          </p:txBody>
        </p:sp>
        <p:cxnSp>
          <p:nvCxnSpPr>
            <p:cNvPr id="8" name="Straight Connector 7">
              <a:extLst>
                <a:ext uri="{FF2B5EF4-FFF2-40B4-BE49-F238E27FC236}">
                  <a16:creationId xmlns:a16="http://schemas.microsoft.com/office/drawing/2014/main" id="{F49481BD-283D-D5D6-92CD-48A75977AB1D}"/>
                </a:ext>
              </a:extLst>
            </p:cNvPr>
            <p:cNvCxnSpPr/>
            <p:nvPr/>
          </p:nvCxnSpPr>
          <p:spPr>
            <a:xfrm>
              <a:off x="5830140" y="3875809"/>
              <a:ext cx="1981201"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9" name="Picture 8">
            <a:extLst>
              <a:ext uri="{FF2B5EF4-FFF2-40B4-BE49-F238E27FC236}">
                <a16:creationId xmlns:a16="http://schemas.microsoft.com/office/drawing/2014/main" id="{FA9091A2-390C-9288-0AFB-BB2FDE753833}"/>
              </a:ext>
            </a:extLst>
          </p:cNvPr>
          <p:cNvPicPr>
            <a:picLocks noChangeAspect="1"/>
          </p:cNvPicPr>
          <p:nvPr/>
        </p:nvPicPr>
        <p:blipFill>
          <a:blip r:embed="rId3"/>
          <a:stretch>
            <a:fillRect/>
          </a:stretch>
        </p:blipFill>
        <p:spPr>
          <a:xfrm>
            <a:off x="10998805" y="5506945"/>
            <a:ext cx="933765" cy="1102925"/>
          </a:xfrm>
          <a:prstGeom prst="rect">
            <a:avLst/>
          </a:prstGeom>
        </p:spPr>
      </p:pic>
    </p:spTree>
    <p:extLst>
      <p:ext uri="{BB962C8B-B14F-4D97-AF65-F5344CB8AC3E}">
        <p14:creationId xmlns:p14="http://schemas.microsoft.com/office/powerpoint/2010/main" val="13529777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a:blip r:embed="rId2"/>
          <a:stretch>
            <a:fillRect/>
          </a:stretch>
        </p:blipFill>
        <p:spPr>
          <a:xfrm>
            <a:off x="0" y="0"/>
            <a:ext cx="4450342" cy="6858000"/>
          </a:xfrm>
          <a:prstGeom prst="rect">
            <a:avLst/>
          </a:prstGeom>
        </p:spPr>
      </p:pic>
      <p:pic>
        <p:nvPicPr>
          <p:cNvPr id="9" name="Picture 8">
            <a:extLst>
              <a:ext uri="{FF2B5EF4-FFF2-40B4-BE49-F238E27FC236}">
                <a16:creationId xmlns:a16="http://schemas.microsoft.com/office/drawing/2014/main" id="{FA9091A2-390C-9288-0AFB-BB2FDE753833}"/>
              </a:ext>
            </a:extLst>
          </p:cNvPr>
          <p:cNvPicPr>
            <a:picLocks noChangeAspect="1"/>
          </p:cNvPicPr>
          <p:nvPr/>
        </p:nvPicPr>
        <p:blipFill>
          <a:blip r:embed="rId3"/>
          <a:stretch>
            <a:fillRect/>
          </a:stretch>
        </p:blipFill>
        <p:spPr>
          <a:xfrm>
            <a:off x="10998805" y="5506945"/>
            <a:ext cx="933765" cy="1102925"/>
          </a:xfrm>
          <a:prstGeom prst="rect">
            <a:avLst/>
          </a:prstGeom>
        </p:spPr>
      </p:pic>
      <p:grpSp>
        <p:nvGrpSpPr>
          <p:cNvPr id="10" name="Group 9">
            <a:extLst>
              <a:ext uri="{FF2B5EF4-FFF2-40B4-BE49-F238E27FC236}">
                <a16:creationId xmlns:a16="http://schemas.microsoft.com/office/drawing/2014/main" id="{E85932A0-52EA-CA78-059C-64B772A0D0D0}"/>
              </a:ext>
            </a:extLst>
          </p:cNvPr>
          <p:cNvGrpSpPr/>
          <p:nvPr/>
        </p:nvGrpSpPr>
        <p:grpSpPr>
          <a:xfrm>
            <a:off x="5830139" y="1137525"/>
            <a:ext cx="5083667" cy="4582950"/>
            <a:chOff x="5830139" y="1130347"/>
            <a:chExt cx="5083667" cy="4582950"/>
          </a:xfrm>
        </p:grpSpPr>
        <p:sp>
          <p:nvSpPr>
            <p:cNvPr id="6" name="TextBox 5">
              <a:extLst>
                <a:ext uri="{FF2B5EF4-FFF2-40B4-BE49-F238E27FC236}">
                  <a16:creationId xmlns:a16="http://schemas.microsoft.com/office/drawing/2014/main" id="{3DF89D8B-DCA4-3F76-6E5B-FD1B002BDA17}"/>
                </a:ext>
              </a:extLst>
            </p:cNvPr>
            <p:cNvSpPr txBox="1"/>
            <p:nvPr/>
          </p:nvSpPr>
          <p:spPr>
            <a:xfrm>
              <a:off x="5830140" y="1130347"/>
              <a:ext cx="5083666" cy="36933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0" i="0" u="none" strike="noStrike" kern="1200" cap="none" spc="300" normalizeH="0" baseline="0" noProof="0">
                  <a:ln>
                    <a:noFill/>
                  </a:ln>
                  <a:solidFill>
                    <a:srgbClr val="69AAE3"/>
                  </a:solidFill>
                  <a:effectLst/>
                  <a:uLnTx/>
                  <a:uFillTx/>
                  <a:latin typeface="BentonSans Medium" panose="02000603000000020004" pitchFamily="2" charset="0"/>
                  <a:ea typeface="+mn-ea"/>
                  <a:cs typeface="+mn-cs"/>
                </a:rPr>
                <a:t>EXEC BEN UNPLUGGED</a:t>
              </a:r>
            </a:p>
          </p:txBody>
        </p:sp>
        <p:sp>
          <p:nvSpPr>
            <p:cNvPr id="7" name="TextBox 6">
              <a:extLst>
                <a:ext uri="{FF2B5EF4-FFF2-40B4-BE49-F238E27FC236}">
                  <a16:creationId xmlns:a16="http://schemas.microsoft.com/office/drawing/2014/main" id="{E908AC03-8CCE-CA04-4404-13D317BA498F}"/>
                </a:ext>
              </a:extLst>
            </p:cNvPr>
            <p:cNvSpPr txBox="1"/>
            <p:nvPr/>
          </p:nvSpPr>
          <p:spPr>
            <a:xfrm>
              <a:off x="5830139" y="1684830"/>
              <a:ext cx="4869815" cy="221599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4800" b="0" i="0" u="none" strike="noStrike" kern="1200" cap="none" spc="0" normalizeH="0" baseline="0" noProof="0">
                  <a:ln>
                    <a:noFill/>
                  </a:ln>
                  <a:solidFill>
                    <a:srgbClr val="FFFFFF"/>
                  </a:solidFill>
                  <a:effectLst/>
                  <a:uLnTx/>
                  <a:uFillTx/>
                  <a:latin typeface="BentonSans Light"/>
                  <a:ea typeface="+mn-ea"/>
                  <a:cs typeface="+mn-cs"/>
                </a:rPr>
                <a:t>STRATEGIES FOR CAREER TRANSITIONS</a:t>
              </a:r>
            </a:p>
          </p:txBody>
        </p:sp>
        <p:cxnSp>
          <p:nvCxnSpPr>
            <p:cNvPr id="8" name="Straight Connector 7">
              <a:extLst>
                <a:ext uri="{FF2B5EF4-FFF2-40B4-BE49-F238E27FC236}">
                  <a16:creationId xmlns:a16="http://schemas.microsoft.com/office/drawing/2014/main" id="{F49481BD-283D-D5D6-92CD-48A75977AB1D}"/>
                </a:ext>
              </a:extLst>
            </p:cNvPr>
            <p:cNvCxnSpPr/>
            <p:nvPr/>
          </p:nvCxnSpPr>
          <p:spPr>
            <a:xfrm>
              <a:off x="5830140" y="4306922"/>
              <a:ext cx="1981201"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AECC028-0832-59C2-C9D5-F94A7464381F}"/>
                </a:ext>
              </a:extLst>
            </p:cNvPr>
            <p:cNvSpPr txBox="1"/>
            <p:nvPr/>
          </p:nvSpPr>
          <p:spPr>
            <a:xfrm>
              <a:off x="5830139" y="4713023"/>
              <a:ext cx="4450342" cy="100027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0" i="0" u="none" strike="noStrike" kern="1200" cap="none" spc="300" normalizeH="0" baseline="0" noProof="0">
                  <a:ln>
                    <a:noFill/>
                  </a:ln>
                  <a:solidFill>
                    <a:srgbClr val="FFFFFF"/>
                  </a:solidFill>
                  <a:effectLst/>
                  <a:uLnTx/>
                  <a:uFillTx/>
                  <a:latin typeface="BentonSans Medium" panose="02000603000000020004" pitchFamily="2" charset="0"/>
                  <a:ea typeface="+mn-ea"/>
                  <a:cs typeface="+mn-cs"/>
                </a:rPr>
                <a:t>WALTER JACKS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BentonSans Light"/>
                  <a:ea typeface="+mn-ea"/>
                  <a:cs typeface="+mn-cs"/>
                </a:rPr>
                <a:t>Senior Vice President &amp; Deputy, </a:t>
              </a:r>
              <a:br>
                <a:rPr kumimoji="0" lang="en-US" sz="1800" b="0" i="0" u="none" strike="noStrike" kern="1200" cap="none" spc="0" normalizeH="0" baseline="0" noProof="0">
                  <a:ln>
                    <a:noFill/>
                  </a:ln>
                  <a:solidFill>
                    <a:srgbClr val="FFFFFF"/>
                  </a:solidFill>
                  <a:effectLst/>
                  <a:uLnTx/>
                  <a:uFillTx/>
                  <a:latin typeface="BentonSans Light"/>
                  <a:ea typeface="+mn-ea"/>
                  <a:cs typeface="+mn-cs"/>
                </a:rPr>
              </a:br>
              <a:r>
                <a:rPr kumimoji="0" lang="en-US" sz="1800" b="0" i="0" u="none" strike="noStrike" kern="1200" cap="none" spc="0" normalizeH="0" baseline="0" noProof="0">
                  <a:ln>
                    <a:noFill/>
                  </a:ln>
                  <a:solidFill>
                    <a:srgbClr val="FFFFFF"/>
                  </a:solidFill>
                  <a:effectLst/>
                  <a:uLnTx/>
                  <a:uFillTx/>
                  <a:latin typeface="BentonSans Light"/>
                  <a:ea typeface="+mn-ea"/>
                  <a:cs typeface="+mn-cs"/>
                </a:rPr>
                <a:t>US Client &amp; Acquisitions</a:t>
              </a:r>
            </a:p>
          </p:txBody>
        </p:sp>
      </p:grpSp>
    </p:spTree>
    <p:extLst>
      <p:ext uri="{BB962C8B-B14F-4D97-AF65-F5344CB8AC3E}">
        <p14:creationId xmlns:p14="http://schemas.microsoft.com/office/powerpoint/2010/main" val="9146751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FC9EA0D-9B1D-F7C9-0FFA-027B23F30C39}"/>
              </a:ext>
            </a:extLst>
          </p:cNvPr>
          <p:cNvSpPr>
            <a:spLocks noGrp="1"/>
          </p:cNvSpPr>
          <p:nvPr>
            <p:ph idx="1"/>
          </p:nvPr>
        </p:nvSpPr>
        <p:spPr>
          <a:xfrm>
            <a:off x="1627095" y="1931109"/>
            <a:ext cx="8489576" cy="2377939"/>
          </a:xfrm>
        </p:spPr>
        <p:txBody>
          <a:bodyPr/>
          <a:lstStyle/>
          <a:p>
            <a:pPr marL="0" indent="0" algn="ctr">
              <a:buNone/>
            </a:pPr>
            <a:r>
              <a:rPr lang="en-US" sz="3733">
                <a:latin typeface="BentonSansCond Bold" panose="02000806050000020004" pitchFamily="2" charset="0"/>
              </a:rPr>
              <a:t>Your career is a </a:t>
            </a:r>
            <a:r>
              <a:rPr lang="en-US" sz="3733" b="1">
                <a:latin typeface="BentonSansCond Bold" panose="02000806050000020004" pitchFamily="2" charset="0"/>
              </a:rPr>
              <a:t>journey</a:t>
            </a:r>
            <a:r>
              <a:rPr lang="en-US" sz="3733">
                <a:latin typeface="BentonSansCond Bold" panose="02000806050000020004" pitchFamily="2" charset="0"/>
              </a:rPr>
              <a:t>, and its yours alone.  Others may help you navigate, but </a:t>
            </a:r>
            <a:r>
              <a:rPr lang="en-US" sz="3733">
                <a:solidFill>
                  <a:srgbClr val="0070C0"/>
                </a:solidFill>
                <a:latin typeface="BentonSansCond Bold" panose="02000806050000020004" pitchFamily="2" charset="0"/>
              </a:rPr>
              <a:t>you must steer the ship</a:t>
            </a:r>
            <a:r>
              <a:rPr lang="en-US" sz="3733">
                <a:latin typeface="BentonSansCond Bold" panose="02000806050000020004" pitchFamily="2" charset="0"/>
              </a:rPr>
              <a:t>.</a:t>
            </a:r>
          </a:p>
        </p:txBody>
      </p:sp>
      <p:sp>
        <p:nvSpPr>
          <p:cNvPr id="5" name="Title 4">
            <a:extLst>
              <a:ext uri="{FF2B5EF4-FFF2-40B4-BE49-F238E27FC236}">
                <a16:creationId xmlns:a16="http://schemas.microsoft.com/office/drawing/2014/main" id="{B42271FD-C11E-630F-3519-E6408BF07480}"/>
              </a:ext>
            </a:extLst>
          </p:cNvPr>
          <p:cNvSpPr>
            <a:spLocks noGrp="1"/>
          </p:cNvSpPr>
          <p:nvPr>
            <p:ph type="title"/>
          </p:nvPr>
        </p:nvSpPr>
        <p:spPr>
          <a:xfrm>
            <a:off x="385483" y="311554"/>
            <a:ext cx="10972800" cy="546155"/>
          </a:xfrm>
        </p:spPr>
        <p:txBody>
          <a:bodyPr anchor="ctr"/>
          <a:lstStyle/>
          <a:p>
            <a:r>
              <a:rPr lang="en-US">
                <a:latin typeface="BentonSans Light" panose="02000503000000020004" pitchFamily="2" charset="0"/>
              </a:rPr>
              <a:t>Strategies for Career Transitions</a:t>
            </a:r>
          </a:p>
        </p:txBody>
      </p:sp>
      <p:pic>
        <p:nvPicPr>
          <p:cNvPr id="7" name="Graphic 6" descr="Open quotation mark with solid fill">
            <a:extLst>
              <a:ext uri="{FF2B5EF4-FFF2-40B4-BE49-F238E27FC236}">
                <a16:creationId xmlns:a16="http://schemas.microsoft.com/office/drawing/2014/main" id="{6EB3A332-CDA2-2C2D-54E1-B78AC9A7FCA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97441" y="732280"/>
            <a:ext cx="1561347" cy="1561347"/>
          </a:xfrm>
          <a:prstGeom prst="rect">
            <a:avLst/>
          </a:prstGeom>
        </p:spPr>
      </p:pic>
      <p:pic>
        <p:nvPicPr>
          <p:cNvPr id="10" name="Graphic 9" descr="Open quotation mark with solid fill">
            <a:extLst>
              <a:ext uri="{FF2B5EF4-FFF2-40B4-BE49-F238E27FC236}">
                <a16:creationId xmlns:a16="http://schemas.microsoft.com/office/drawing/2014/main" id="{8A8F524D-1409-574F-F45B-66D4880C72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9923185" y="3721227"/>
            <a:ext cx="1561347" cy="1561347"/>
          </a:xfrm>
          <a:prstGeom prst="rect">
            <a:avLst/>
          </a:prstGeom>
        </p:spPr>
      </p:pic>
      <p:cxnSp>
        <p:nvCxnSpPr>
          <p:cNvPr id="12" name="Straight Connector 11">
            <a:extLst>
              <a:ext uri="{FF2B5EF4-FFF2-40B4-BE49-F238E27FC236}">
                <a16:creationId xmlns:a16="http://schemas.microsoft.com/office/drawing/2014/main" id="{19AAFFE9-22EF-2245-2764-1FD19E2BE7E7}"/>
              </a:ext>
            </a:extLst>
          </p:cNvPr>
          <p:cNvCxnSpPr>
            <a:cxnSpLocks/>
          </p:cNvCxnSpPr>
          <p:nvPr/>
        </p:nvCxnSpPr>
        <p:spPr>
          <a:xfrm>
            <a:off x="2214283" y="1730201"/>
            <a:ext cx="7548283" cy="0"/>
          </a:xfrm>
          <a:prstGeom prst="line">
            <a:avLst/>
          </a:prstGeom>
          <a:ln w="12700" cap="sq">
            <a:solidFill>
              <a:srgbClr val="006FCF"/>
            </a:solidFill>
          </a:ln>
        </p:spPr>
        <p:style>
          <a:lnRef idx="1">
            <a:schemeClr val="accent1"/>
          </a:lnRef>
          <a:fillRef idx="0">
            <a:schemeClr val="accent1"/>
          </a:fillRef>
          <a:effectRef idx="0">
            <a:schemeClr val="dk1"/>
          </a:effectRef>
          <a:fontRef idx="minor">
            <a:schemeClr val="lt1"/>
          </a:fontRef>
        </p:style>
      </p:cxnSp>
      <p:cxnSp>
        <p:nvCxnSpPr>
          <p:cNvPr id="14" name="Straight Connector 13">
            <a:extLst>
              <a:ext uri="{FF2B5EF4-FFF2-40B4-BE49-F238E27FC236}">
                <a16:creationId xmlns:a16="http://schemas.microsoft.com/office/drawing/2014/main" id="{F143E3F4-4DE4-9679-DAE0-36F7B33F3AE1}"/>
              </a:ext>
            </a:extLst>
          </p:cNvPr>
          <p:cNvCxnSpPr>
            <a:cxnSpLocks/>
          </p:cNvCxnSpPr>
          <p:nvPr/>
        </p:nvCxnSpPr>
        <p:spPr>
          <a:xfrm>
            <a:off x="2214283" y="4210437"/>
            <a:ext cx="7548283" cy="0"/>
          </a:xfrm>
          <a:prstGeom prst="line">
            <a:avLst/>
          </a:prstGeom>
          <a:ln w="12700" cap="sq">
            <a:solidFill>
              <a:srgbClr val="006FCF"/>
            </a:solidFill>
          </a:ln>
        </p:spPr>
        <p:style>
          <a:lnRef idx="1">
            <a:schemeClr val="accent1"/>
          </a:lnRef>
          <a:fillRef idx="0">
            <a:schemeClr val="accent1"/>
          </a:fillRef>
          <a:effectRef idx="0">
            <a:schemeClr val="dk1"/>
          </a:effectRef>
          <a:fontRef idx="minor">
            <a:schemeClr val="lt1"/>
          </a:fontRef>
        </p:style>
      </p:cxnSp>
      <p:sp>
        <p:nvSpPr>
          <p:cNvPr id="15" name="Content Placeholder 1">
            <a:extLst>
              <a:ext uri="{FF2B5EF4-FFF2-40B4-BE49-F238E27FC236}">
                <a16:creationId xmlns:a16="http://schemas.microsoft.com/office/drawing/2014/main" id="{1EF6CBA9-995D-C405-42C2-8F8228E0C611}"/>
              </a:ext>
            </a:extLst>
          </p:cNvPr>
          <p:cNvSpPr txBox="1">
            <a:spLocks/>
          </p:cNvSpPr>
          <p:nvPr/>
        </p:nvSpPr>
        <p:spPr>
          <a:xfrm>
            <a:off x="7077632" y="4501900"/>
            <a:ext cx="3648637" cy="525811"/>
          </a:xfrm>
          <a:prstGeom prst="rect">
            <a:avLst/>
          </a:prstGeom>
        </p:spPr>
        <p:txBody>
          <a:bodyPr vert="horz" lIns="0" tIns="0" rIns="0" bIns="0" rtlCol="0">
            <a:normAutofit/>
          </a:bodyPr>
          <a:lstStyle>
            <a:lvl1pPr marL="171450" indent="-171450" algn="l" defTabSz="685800" rtl="0" eaLnBrk="1" latinLnBrk="0" hangingPunct="1">
              <a:lnSpc>
                <a:spcPct val="120000"/>
              </a:lnSpc>
              <a:spcBef>
                <a:spcPts val="900"/>
              </a:spcBef>
              <a:buSzPct val="120000"/>
              <a:buFont typeface="Arial" panose="020B0604020202020204" pitchFamily="34" charset="0"/>
              <a:buChar char="•"/>
              <a:defRPr sz="1200" kern="1200">
                <a:solidFill>
                  <a:schemeClr val="tx1"/>
                </a:solidFill>
                <a:latin typeface="+mn-lt"/>
                <a:ea typeface="+mn-ea"/>
                <a:cs typeface="+mn-cs"/>
              </a:defRPr>
            </a:lvl1pPr>
            <a:lvl2pPr marL="347472" indent="-171450" algn="l" defTabSz="685800" rtl="0" eaLnBrk="1" latinLnBrk="0" hangingPunct="1">
              <a:lnSpc>
                <a:spcPct val="120000"/>
              </a:lnSpc>
              <a:spcBef>
                <a:spcPts val="300"/>
              </a:spcBef>
              <a:buFont typeface="Arial" panose="020B0604020202020204" pitchFamily="34" charset="0"/>
              <a:buChar char="–"/>
              <a:defRPr sz="1100" kern="1200">
                <a:solidFill>
                  <a:schemeClr val="tx1"/>
                </a:solidFill>
                <a:latin typeface="+mn-lt"/>
                <a:ea typeface="+mn-ea"/>
                <a:cs typeface="+mn-cs"/>
              </a:defRPr>
            </a:lvl2pPr>
            <a:lvl3pPr marL="512064" indent="-171450" algn="l" defTabSz="685800" rtl="0" eaLnBrk="1" latinLnBrk="0" hangingPunct="1">
              <a:lnSpc>
                <a:spcPct val="120000"/>
              </a:lnSpc>
              <a:spcBef>
                <a:spcPts val="300"/>
              </a:spcBef>
              <a:buFont typeface="Arial" panose="020B0604020202020204" pitchFamily="34" charset="0"/>
              <a:buChar char="–"/>
              <a:defRPr sz="1000" kern="1200">
                <a:solidFill>
                  <a:schemeClr val="tx1"/>
                </a:solidFill>
                <a:latin typeface="+mn-lt"/>
                <a:ea typeface="+mn-ea"/>
                <a:cs typeface="+mn-cs"/>
              </a:defRPr>
            </a:lvl3pPr>
            <a:lvl4pPr marL="685800" indent="-171450" algn="l" defTabSz="685800" rtl="0" eaLnBrk="1" latinLnBrk="0" hangingPunct="1">
              <a:lnSpc>
                <a:spcPct val="120000"/>
              </a:lnSpc>
              <a:spcBef>
                <a:spcPts val="300"/>
              </a:spcBef>
              <a:buFont typeface="Arial" panose="020B0604020202020204" pitchFamily="34" charset="0"/>
              <a:buChar char="–"/>
              <a:defRPr sz="900" kern="1200">
                <a:solidFill>
                  <a:schemeClr val="tx1"/>
                </a:solidFill>
                <a:latin typeface="+mn-lt"/>
                <a:ea typeface="+mn-ea"/>
                <a:cs typeface="+mn-cs"/>
              </a:defRPr>
            </a:lvl4pPr>
            <a:lvl5pPr marL="859536" indent="-171450" algn="l" defTabSz="685800" rtl="0" eaLnBrk="1" latinLnBrk="0" hangingPunct="1">
              <a:lnSpc>
                <a:spcPct val="120000"/>
              </a:lnSpc>
              <a:spcBef>
                <a:spcPts val="300"/>
              </a:spcBef>
              <a:buFont typeface="Arial" panose="020B0604020202020204" pitchFamily="34" charset="0"/>
              <a:buChar char="–"/>
              <a:defRPr sz="800" kern="1200">
                <a:solidFill>
                  <a:schemeClr val="tx1"/>
                </a:solidFill>
                <a:latin typeface="+mn-lt"/>
                <a:ea typeface="+mn-ea"/>
                <a:cs typeface="+mn-cs"/>
              </a:defRPr>
            </a:lvl5pPr>
            <a:lvl6pPr marL="1024128" indent="-171450" algn="l" defTabSz="685800" rtl="0" eaLnBrk="1" latinLnBrk="0" hangingPunct="1">
              <a:lnSpc>
                <a:spcPct val="120000"/>
              </a:lnSpc>
              <a:spcBef>
                <a:spcPts val="300"/>
              </a:spcBef>
              <a:buFont typeface="Arial" panose="020B0604020202020204" pitchFamily="34" charset="0"/>
              <a:buChar char="–"/>
              <a:defRPr sz="1200" kern="1200">
                <a:solidFill>
                  <a:schemeClr val="tx1"/>
                </a:solidFill>
                <a:latin typeface="+mn-lt"/>
                <a:ea typeface="+mn-ea"/>
                <a:cs typeface="+mn-cs"/>
              </a:defRPr>
            </a:lvl6pPr>
            <a:lvl7pPr marL="1197864" indent="-171450" algn="l" defTabSz="685800" rtl="0" eaLnBrk="1" latinLnBrk="0" hangingPunct="1">
              <a:lnSpc>
                <a:spcPct val="120000"/>
              </a:lnSpc>
              <a:spcBef>
                <a:spcPts val="300"/>
              </a:spcBef>
              <a:buFont typeface="Arial" panose="020B0604020202020204" pitchFamily="34" charset="0"/>
              <a:buChar char="–"/>
              <a:defRPr sz="1200" kern="1200">
                <a:solidFill>
                  <a:schemeClr val="tx1"/>
                </a:solidFill>
                <a:latin typeface="+mn-lt"/>
                <a:ea typeface="+mn-ea"/>
                <a:cs typeface="+mn-cs"/>
              </a:defRPr>
            </a:lvl7pPr>
            <a:lvl8pPr marL="1371600" indent="-171450" algn="l" defTabSz="685800" rtl="0" eaLnBrk="1" latinLnBrk="0" hangingPunct="1">
              <a:lnSpc>
                <a:spcPct val="120000"/>
              </a:lnSpc>
              <a:spcBef>
                <a:spcPts val="300"/>
              </a:spcBef>
              <a:buFont typeface="Arial" panose="020B0604020202020204" pitchFamily="34" charset="0"/>
              <a:buChar char="–"/>
              <a:defRPr sz="1200" kern="1200">
                <a:solidFill>
                  <a:schemeClr val="tx1"/>
                </a:solidFill>
                <a:latin typeface="+mn-lt"/>
                <a:ea typeface="+mn-ea"/>
                <a:cs typeface="+mn-cs"/>
              </a:defRPr>
            </a:lvl8pPr>
            <a:lvl9pPr marL="1545336" indent="-171450" algn="l" defTabSz="685800" rtl="0" eaLnBrk="1" latinLnBrk="0" hangingPunct="1">
              <a:lnSpc>
                <a:spcPct val="120000"/>
              </a:lnSpc>
              <a:spcBef>
                <a:spcPts val="3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377" rtl="0" eaLnBrk="1" fontAlgn="auto" latinLnBrk="0" hangingPunct="1">
              <a:lnSpc>
                <a:spcPct val="120000"/>
              </a:lnSpc>
              <a:spcBef>
                <a:spcPts val="1200"/>
              </a:spcBef>
              <a:spcAft>
                <a:spcPts val="0"/>
              </a:spcAft>
              <a:buClrTx/>
              <a:buSzPct val="120000"/>
              <a:buFont typeface="Arial" panose="020B0604020202020204" pitchFamily="34" charset="0"/>
              <a:buNone/>
              <a:tabLst/>
              <a:defRPr/>
            </a:pPr>
            <a:r>
              <a:rPr kumimoji="0" lang="en-US" sz="2667" b="0" i="0" u="none" strike="noStrike" kern="1200" cap="none" spc="0" normalizeH="0" baseline="0" noProof="0">
                <a:ln>
                  <a:noFill/>
                </a:ln>
                <a:solidFill>
                  <a:srgbClr val="53565A"/>
                </a:solidFill>
                <a:effectLst/>
                <a:uLnTx/>
                <a:uFillTx/>
                <a:latin typeface="BentonSansCond Bold" panose="02000806050000020004" pitchFamily="2" charset="0"/>
                <a:ea typeface="+mn-ea"/>
                <a:cs typeface="+mn-cs"/>
              </a:rPr>
              <a:t>- Ken Poirot</a:t>
            </a:r>
          </a:p>
        </p:txBody>
      </p:sp>
    </p:spTree>
    <p:extLst>
      <p:ext uri="{BB962C8B-B14F-4D97-AF65-F5344CB8AC3E}">
        <p14:creationId xmlns:p14="http://schemas.microsoft.com/office/powerpoint/2010/main" val="3968460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CE83766-BA4A-C0ED-4B36-2B3D9FA24400}"/>
              </a:ext>
            </a:extLst>
          </p:cNvPr>
          <p:cNvSpPr>
            <a:spLocks noGrp="1"/>
          </p:cNvSpPr>
          <p:nvPr>
            <p:ph type="title"/>
          </p:nvPr>
        </p:nvSpPr>
        <p:spPr>
          <a:xfrm>
            <a:off x="304800" y="375473"/>
            <a:ext cx="10972800" cy="569408"/>
          </a:xfrm>
        </p:spPr>
        <p:txBody>
          <a:bodyPr/>
          <a:lstStyle/>
          <a:p>
            <a:r>
              <a:rPr lang="en-US">
                <a:latin typeface="BentonSans Light" panose="02000503000000020004" pitchFamily="2" charset="0"/>
              </a:rPr>
              <a:t>By The Numbers</a:t>
            </a:r>
          </a:p>
        </p:txBody>
      </p:sp>
      <p:sp>
        <p:nvSpPr>
          <p:cNvPr id="5" name="TextBox 4">
            <a:extLst>
              <a:ext uri="{FF2B5EF4-FFF2-40B4-BE49-F238E27FC236}">
                <a16:creationId xmlns:a16="http://schemas.microsoft.com/office/drawing/2014/main" id="{EDCAF96E-58DB-DA5D-D8B5-5AB9DBA6BDBA}"/>
              </a:ext>
            </a:extLst>
          </p:cNvPr>
          <p:cNvSpPr txBox="1"/>
          <p:nvPr/>
        </p:nvSpPr>
        <p:spPr>
          <a:xfrm>
            <a:off x="4011707" y="1171472"/>
            <a:ext cx="4168588" cy="3966011"/>
          </a:xfrm>
          <a:prstGeom prst="rect">
            <a:avLst/>
          </a:prstGeom>
          <a:noFill/>
          <a:effectLst/>
        </p:spPr>
        <p:txBody>
          <a:bodyPr wrap="square" lIns="0" tIns="0" rIns="0" bIns="0" rtlCol="0" anchor="ctr">
            <a:noAutofit/>
          </a:bodyPr>
          <a:lstStyle/>
          <a:p>
            <a:pPr marL="0" marR="0" lvl="0" indent="0" algn="ctr" defTabSz="914377" rtl="0" eaLnBrk="1" fontAlgn="auto" latinLnBrk="0" hangingPunct="1">
              <a:lnSpc>
                <a:spcPct val="120000"/>
              </a:lnSpc>
              <a:spcBef>
                <a:spcPts val="1200"/>
              </a:spcBef>
              <a:spcAft>
                <a:spcPts val="0"/>
              </a:spcAft>
              <a:buClrTx/>
              <a:buSzPct val="120000"/>
              <a:buFontTx/>
              <a:buNone/>
              <a:tabLst/>
              <a:defRPr/>
            </a:pPr>
            <a:r>
              <a:rPr kumimoji="0" lang="en-US" sz="24000" b="0" i="0" u="none" strike="noStrike" kern="1200" cap="none" spc="0" normalizeH="0" baseline="0" noProof="0">
                <a:ln>
                  <a:solidFill>
                    <a:srgbClr val="FFFFFF">
                      <a:lumMod val="85000"/>
                    </a:srgbClr>
                  </a:solidFill>
                </a:ln>
                <a:solidFill>
                  <a:srgbClr val="00175A"/>
                </a:solidFill>
                <a:effectLst/>
                <a:uLnTx/>
                <a:uFillTx/>
                <a:latin typeface="BentonSansCond Bold" panose="02000806050000020004" pitchFamily="2" charset="0"/>
                <a:ea typeface="+mn-ea"/>
                <a:cs typeface="+mn-cs"/>
              </a:rPr>
              <a:t>14</a:t>
            </a:r>
          </a:p>
        </p:txBody>
      </p:sp>
      <p:sp>
        <p:nvSpPr>
          <p:cNvPr id="6" name="TextBox 5">
            <a:extLst>
              <a:ext uri="{FF2B5EF4-FFF2-40B4-BE49-F238E27FC236}">
                <a16:creationId xmlns:a16="http://schemas.microsoft.com/office/drawing/2014/main" id="{7DD666CD-DD24-8C87-9E70-215BBC1A72E8}"/>
              </a:ext>
            </a:extLst>
          </p:cNvPr>
          <p:cNvSpPr txBox="1"/>
          <p:nvPr/>
        </p:nvSpPr>
        <p:spPr>
          <a:xfrm>
            <a:off x="187138" y="2406316"/>
            <a:ext cx="1889812" cy="1863746"/>
          </a:xfrm>
          <a:prstGeom prst="ellipse">
            <a:avLst/>
          </a:prstGeom>
          <a:noFill/>
          <a:ln w="28575">
            <a:solidFill>
              <a:srgbClr val="006FCF"/>
            </a:solidFill>
          </a:ln>
          <a:effectLst/>
        </p:spPr>
        <p:txBody>
          <a:bodyPr wrap="square" lIns="0" tIns="0" rIns="0" bIns="0" rtlCol="0" anchor="ctr">
            <a:noAutofit/>
          </a:bodyPr>
          <a:lstStyle/>
          <a:p>
            <a:pPr marL="0" marR="0" lvl="0" indent="0" algn="ctr" defTabSz="914377" rtl="0" eaLnBrk="1" fontAlgn="auto" latinLnBrk="0" hangingPunct="1">
              <a:lnSpc>
                <a:spcPct val="120000"/>
              </a:lnSpc>
              <a:spcBef>
                <a:spcPts val="1200"/>
              </a:spcBef>
              <a:spcAft>
                <a:spcPts val="0"/>
              </a:spcAft>
              <a:buClrTx/>
              <a:buSzPct val="120000"/>
              <a:buFontTx/>
              <a:buNone/>
              <a:tabLst/>
              <a:defRPr/>
            </a:pPr>
            <a:r>
              <a:rPr kumimoji="0" lang="en-US" sz="9600" b="0" i="0" u="none" strike="noStrike" kern="1200" cap="none" spc="0" normalizeH="0" baseline="0" noProof="0">
                <a:ln>
                  <a:noFill/>
                </a:ln>
                <a:solidFill>
                  <a:srgbClr val="00175A"/>
                </a:solidFill>
                <a:effectLst/>
                <a:uLnTx/>
                <a:uFillTx/>
                <a:latin typeface="BentonSansCond Bold" panose="02000806050000020004" pitchFamily="2" charset="0"/>
                <a:ea typeface="+mn-ea"/>
                <a:cs typeface="+mn-cs"/>
              </a:rPr>
              <a:t>8</a:t>
            </a:r>
          </a:p>
        </p:txBody>
      </p:sp>
      <p:sp>
        <p:nvSpPr>
          <p:cNvPr id="2" name="TextBox 1">
            <a:extLst>
              <a:ext uri="{FF2B5EF4-FFF2-40B4-BE49-F238E27FC236}">
                <a16:creationId xmlns:a16="http://schemas.microsoft.com/office/drawing/2014/main" id="{F474D945-E3D8-C065-4281-D622A5BB4CCD}"/>
              </a:ext>
            </a:extLst>
          </p:cNvPr>
          <p:cNvSpPr txBox="1"/>
          <p:nvPr/>
        </p:nvSpPr>
        <p:spPr>
          <a:xfrm>
            <a:off x="2355223" y="2406316"/>
            <a:ext cx="1889812" cy="1863746"/>
          </a:xfrm>
          <a:prstGeom prst="ellipse">
            <a:avLst/>
          </a:prstGeom>
          <a:noFill/>
          <a:ln w="28575">
            <a:solidFill>
              <a:srgbClr val="006FCF"/>
            </a:solidFill>
          </a:ln>
          <a:effectLst/>
        </p:spPr>
        <p:txBody>
          <a:bodyPr wrap="square" lIns="0" tIns="0" rIns="0" bIns="0" rtlCol="0" anchor="ctr">
            <a:noAutofit/>
          </a:bodyPr>
          <a:lstStyle/>
          <a:p>
            <a:pPr marL="0" marR="0" lvl="0" indent="0" algn="ctr" defTabSz="914377" rtl="0" eaLnBrk="1" fontAlgn="auto" latinLnBrk="0" hangingPunct="1">
              <a:lnSpc>
                <a:spcPct val="120000"/>
              </a:lnSpc>
              <a:spcBef>
                <a:spcPts val="1200"/>
              </a:spcBef>
              <a:spcAft>
                <a:spcPts val="0"/>
              </a:spcAft>
              <a:buClrTx/>
              <a:buSzPct val="120000"/>
              <a:buFontTx/>
              <a:buNone/>
              <a:tabLst/>
              <a:defRPr/>
            </a:pPr>
            <a:r>
              <a:rPr kumimoji="0" lang="en-US" sz="9600" b="0" i="0" u="none" strike="noStrike" kern="1200" cap="none" spc="0" normalizeH="0" baseline="0" noProof="0">
                <a:ln>
                  <a:noFill/>
                </a:ln>
                <a:solidFill>
                  <a:srgbClr val="00175A"/>
                </a:solidFill>
                <a:effectLst/>
                <a:uLnTx/>
                <a:uFillTx/>
                <a:latin typeface="BentonSansCond Bold" panose="02000806050000020004" pitchFamily="2" charset="0"/>
                <a:ea typeface="+mn-ea"/>
                <a:cs typeface="+mn-cs"/>
              </a:rPr>
              <a:t>3</a:t>
            </a:r>
          </a:p>
        </p:txBody>
      </p:sp>
      <p:sp>
        <p:nvSpPr>
          <p:cNvPr id="10" name="TextBox 9">
            <a:extLst>
              <a:ext uri="{FF2B5EF4-FFF2-40B4-BE49-F238E27FC236}">
                <a16:creationId xmlns:a16="http://schemas.microsoft.com/office/drawing/2014/main" id="{2EF2FB47-D264-08CB-66A1-4EF2FAFA8F80}"/>
              </a:ext>
            </a:extLst>
          </p:cNvPr>
          <p:cNvSpPr txBox="1"/>
          <p:nvPr/>
        </p:nvSpPr>
        <p:spPr>
          <a:xfrm>
            <a:off x="7946966" y="2453999"/>
            <a:ext cx="1889812" cy="1863746"/>
          </a:xfrm>
          <a:prstGeom prst="ellipse">
            <a:avLst/>
          </a:prstGeom>
          <a:noFill/>
          <a:ln w="28575">
            <a:solidFill>
              <a:srgbClr val="006FCF"/>
            </a:solidFill>
          </a:ln>
          <a:effectLst/>
        </p:spPr>
        <p:txBody>
          <a:bodyPr wrap="square" lIns="0" tIns="0" rIns="0" bIns="0" rtlCol="0" anchor="ctr">
            <a:noAutofit/>
          </a:bodyPr>
          <a:lstStyle/>
          <a:p>
            <a:pPr marL="0" marR="0" lvl="0" indent="0" algn="ctr" defTabSz="914377" rtl="0" eaLnBrk="1" fontAlgn="auto" latinLnBrk="0" hangingPunct="1">
              <a:lnSpc>
                <a:spcPct val="120000"/>
              </a:lnSpc>
              <a:spcBef>
                <a:spcPts val="1200"/>
              </a:spcBef>
              <a:spcAft>
                <a:spcPts val="0"/>
              </a:spcAft>
              <a:buClrTx/>
              <a:buSzPct val="120000"/>
              <a:buFontTx/>
              <a:buNone/>
              <a:tabLst/>
              <a:defRPr/>
            </a:pPr>
            <a:r>
              <a:rPr kumimoji="0" lang="en-US" sz="9600" b="0" i="0" u="none" strike="noStrike" kern="1200" cap="none" spc="0" normalizeH="0" baseline="0" noProof="0">
                <a:ln>
                  <a:noFill/>
                </a:ln>
                <a:solidFill>
                  <a:srgbClr val="00175A"/>
                </a:solidFill>
                <a:effectLst/>
                <a:uLnTx/>
                <a:uFillTx/>
                <a:latin typeface="BentonSansCond Bold" panose="02000806050000020004" pitchFamily="2" charset="0"/>
                <a:ea typeface="+mn-ea"/>
                <a:cs typeface="+mn-cs"/>
              </a:rPr>
              <a:t>3</a:t>
            </a:r>
          </a:p>
        </p:txBody>
      </p:sp>
      <p:sp>
        <p:nvSpPr>
          <p:cNvPr id="11" name="TextBox 10">
            <a:extLst>
              <a:ext uri="{FF2B5EF4-FFF2-40B4-BE49-F238E27FC236}">
                <a16:creationId xmlns:a16="http://schemas.microsoft.com/office/drawing/2014/main" id="{34FABA94-10ED-F64A-E1A5-5E402E7F1B81}"/>
              </a:ext>
            </a:extLst>
          </p:cNvPr>
          <p:cNvSpPr txBox="1"/>
          <p:nvPr/>
        </p:nvSpPr>
        <p:spPr>
          <a:xfrm>
            <a:off x="10115051" y="2469640"/>
            <a:ext cx="1889812" cy="1863746"/>
          </a:xfrm>
          <a:prstGeom prst="ellipse">
            <a:avLst/>
          </a:prstGeom>
          <a:noFill/>
          <a:ln w="28575">
            <a:solidFill>
              <a:srgbClr val="006FCF"/>
            </a:solidFill>
          </a:ln>
          <a:effectLst/>
        </p:spPr>
        <p:txBody>
          <a:bodyPr wrap="square" lIns="0" tIns="0" rIns="0" bIns="0" rtlCol="0" anchor="ctr">
            <a:noAutofit/>
          </a:bodyPr>
          <a:lstStyle/>
          <a:p>
            <a:pPr marL="0" marR="0" lvl="0" indent="0" algn="ctr" defTabSz="914377" rtl="0" eaLnBrk="1" fontAlgn="auto" latinLnBrk="0" hangingPunct="1">
              <a:lnSpc>
                <a:spcPct val="120000"/>
              </a:lnSpc>
              <a:spcBef>
                <a:spcPts val="1200"/>
              </a:spcBef>
              <a:spcAft>
                <a:spcPts val="0"/>
              </a:spcAft>
              <a:buClrTx/>
              <a:buSzPct val="120000"/>
              <a:buFontTx/>
              <a:buNone/>
              <a:tabLst/>
              <a:defRPr/>
            </a:pPr>
            <a:r>
              <a:rPr kumimoji="0" lang="en-US" sz="9600" b="0" i="0" u="none" strike="noStrike" kern="1200" cap="none" spc="0" normalizeH="0" baseline="0" noProof="0">
                <a:ln>
                  <a:noFill/>
                </a:ln>
                <a:solidFill>
                  <a:srgbClr val="00175A"/>
                </a:solidFill>
                <a:effectLst/>
                <a:uLnTx/>
                <a:uFillTx/>
                <a:latin typeface="BentonSansCond Bold" panose="02000806050000020004" pitchFamily="2" charset="0"/>
                <a:ea typeface="+mn-ea"/>
                <a:cs typeface="+mn-cs"/>
              </a:rPr>
              <a:t>1</a:t>
            </a:r>
          </a:p>
        </p:txBody>
      </p:sp>
    </p:spTree>
    <p:extLst>
      <p:ext uri="{BB962C8B-B14F-4D97-AF65-F5344CB8AC3E}">
        <p14:creationId xmlns:p14="http://schemas.microsoft.com/office/powerpoint/2010/main" val="3218832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rotWithShape="1">
          <a:blip r:embed="rId2"/>
          <a:srcRect l="486" r="39298"/>
          <a:stretch/>
        </p:blipFill>
        <p:spPr>
          <a:xfrm>
            <a:off x="9512187" y="0"/>
            <a:ext cx="2679813" cy="6858000"/>
          </a:xfrm>
          <a:prstGeom prst="rect">
            <a:avLst/>
          </a:prstGeom>
        </p:spPr>
      </p:pic>
      <p:pic>
        <p:nvPicPr>
          <p:cNvPr id="3" name="Picture 2">
            <a:extLst>
              <a:ext uri="{FF2B5EF4-FFF2-40B4-BE49-F238E27FC236}">
                <a16:creationId xmlns:a16="http://schemas.microsoft.com/office/drawing/2014/main" id="{E2E11E99-A81B-C638-28EE-0BC86E7BF2EF}"/>
              </a:ext>
            </a:extLst>
          </p:cNvPr>
          <p:cNvPicPr>
            <a:picLocks noChangeAspect="1"/>
          </p:cNvPicPr>
          <p:nvPr/>
        </p:nvPicPr>
        <p:blipFill rotWithShape="1">
          <a:blip r:embed="rId2"/>
          <a:srcRect l="29541" r="8954"/>
          <a:stretch/>
        </p:blipFill>
        <p:spPr>
          <a:xfrm>
            <a:off x="0" y="0"/>
            <a:ext cx="2737184" cy="6858000"/>
          </a:xfrm>
          <a:prstGeom prst="rect">
            <a:avLst/>
          </a:prstGeom>
        </p:spPr>
      </p:pic>
      <p:sp>
        <p:nvSpPr>
          <p:cNvPr id="10" name="TextBox 9">
            <a:extLst>
              <a:ext uri="{FF2B5EF4-FFF2-40B4-BE49-F238E27FC236}">
                <a16:creationId xmlns:a16="http://schemas.microsoft.com/office/drawing/2014/main" id="{7C123359-7C73-5C0C-3883-B003884F02E2}"/>
              </a:ext>
            </a:extLst>
          </p:cNvPr>
          <p:cNvSpPr txBox="1"/>
          <p:nvPr/>
        </p:nvSpPr>
        <p:spPr>
          <a:xfrm>
            <a:off x="4672326" y="609791"/>
            <a:ext cx="2847347" cy="999248"/>
          </a:xfrm>
          <a:prstGeom prst="rect">
            <a:avLst/>
          </a:prstGeom>
          <a:noFill/>
        </p:spPr>
        <p:txBody>
          <a:bodyPr wrap="square" lIns="0" tIns="0" rIns="0" bIns="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8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rPr>
              <a:t>2019</a:t>
            </a:r>
            <a:endParaRPr kumimoji="0" lang="en-US" sz="66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endParaRPr>
          </a:p>
        </p:txBody>
      </p:sp>
      <p:pic>
        <p:nvPicPr>
          <p:cNvPr id="5" name="Picture 4" descr="A picture containing clothing, person, people, person&#10;&#10;Description automatically generated">
            <a:extLst>
              <a:ext uri="{FF2B5EF4-FFF2-40B4-BE49-F238E27FC236}">
                <a16:creationId xmlns:a16="http://schemas.microsoft.com/office/drawing/2014/main" id="{309E17A4-3F59-042C-05A5-46BDF86149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3258" y="1784990"/>
            <a:ext cx="3317966" cy="2216586"/>
          </a:xfrm>
          <a:prstGeom prst="rect">
            <a:avLst/>
          </a:prstGeom>
          <a:ln>
            <a:solidFill>
              <a:schemeClr val="accent1"/>
            </a:solidFill>
          </a:ln>
        </p:spPr>
      </p:pic>
      <p:pic>
        <p:nvPicPr>
          <p:cNvPr id="9" name="Picture 8" descr="A person standing in front of a large group of people&#10;&#10;Description automatically generated with low confidence">
            <a:extLst>
              <a:ext uri="{FF2B5EF4-FFF2-40B4-BE49-F238E27FC236}">
                <a16:creationId xmlns:a16="http://schemas.microsoft.com/office/drawing/2014/main" id="{C9BC8720-E683-6BAF-82D3-4EACA7D5D71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23258" y="4177527"/>
            <a:ext cx="3317966" cy="2207369"/>
          </a:xfrm>
          <a:prstGeom prst="rect">
            <a:avLst/>
          </a:prstGeom>
          <a:ln>
            <a:solidFill>
              <a:schemeClr val="accent1"/>
            </a:solidFill>
          </a:ln>
        </p:spPr>
      </p:pic>
      <p:pic>
        <p:nvPicPr>
          <p:cNvPr id="6" name="Picture 5" descr="A group of people sitting in a room&#10;&#10;Description automatically generated with low confidence">
            <a:extLst>
              <a:ext uri="{FF2B5EF4-FFF2-40B4-BE49-F238E27FC236}">
                <a16:creationId xmlns:a16="http://schemas.microsoft.com/office/drawing/2014/main" id="{85AAA878-7683-4BAE-725A-D04350604A1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18851" y="1784990"/>
            <a:ext cx="5897376" cy="3923393"/>
          </a:xfrm>
          <a:prstGeom prst="rect">
            <a:avLst/>
          </a:prstGeom>
        </p:spPr>
      </p:pic>
    </p:spTree>
    <p:extLst>
      <p:ext uri="{BB962C8B-B14F-4D97-AF65-F5344CB8AC3E}">
        <p14:creationId xmlns:p14="http://schemas.microsoft.com/office/powerpoint/2010/main" val="37583583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FC9EA0D-9B1D-F7C9-0FFA-027B23F30C39}"/>
              </a:ext>
            </a:extLst>
          </p:cNvPr>
          <p:cNvSpPr>
            <a:spLocks noGrp="1"/>
          </p:cNvSpPr>
          <p:nvPr>
            <p:ph idx="1"/>
          </p:nvPr>
        </p:nvSpPr>
        <p:spPr>
          <a:xfrm>
            <a:off x="1636059" y="2029419"/>
            <a:ext cx="8489576" cy="2377939"/>
          </a:xfrm>
        </p:spPr>
        <p:txBody>
          <a:bodyPr>
            <a:normAutofit fontScale="85000" lnSpcReduction="10000"/>
          </a:bodyPr>
          <a:lstStyle/>
          <a:p>
            <a:pPr marL="0" indent="0" algn="ctr">
              <a:buNone/>
            </a:pPr>
            <a:r>
              <a:rPr lang="en-US" sz="3733">
                <a:latin typeface="BentonSansCond Bold" panose="02000806050000020004" pitchFamily="2" charset="0"/>
              </a:rPr>
              <a:t>Your work is going to fill a large part of your life, and the only way to be truly satisfied is to do what you believe is great work.  And the only way to do great work is to </a:t>
            </a:r>
            <a:r>
              <a:rPr lang="en-US" sz="3733">
                <a:solidFill>
                  <a:srgbClr val="0070C0"/>
                </a:solidFill>
                <a:latin typeface="BentonSansCond Bold" panose="02000806050000020004" pitchFamily="2" charset="0"/>
              </a:rPr>
              <a:t>love what you do</a:t>
            </a:r>
            <a:r>
              <a:rPr lang="en-US" sz="3733">
                <a:latin typeface="BentonSansCond Bold" panose="02000806050000020004" pitchFamily="2" charset="0"/>
              </a:rPr>
              <a:t>. </a:t>
            </a:r>
          </a:p>
        </p:txBody>
      </p:sp>
      <p:pic>
        <p:nvPicPr>
          <p:cNvPr id="7" name="Graphic 6" descr="Open quotation mark with solid fill">
            <a:extLst>
              <a:ext uri="{FF2B5EF4-FFF2-40B4-BE49-F238E27FC236}">
                <a16:creationId xmlns:a16="http://schemas.microsoft.com/office/drawing/2014/main" id="{6EB3A332-CDA2-2C2D-54E1-B78AC9A7FCA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93" y="593728"/>
            <a:ext cx="1561347" cy="1561347"/>
          </a:xfrm>
          <a:prstGeom prst="rect">
            <a:avLst/>
          </a:prstGeom>
        </p:spPr>
      </p:pic>
      <p:pic>
        <p:nvPicPr>
          <p:cNvPr id="10" name="Graphic 9" descr="Open quotation mark with solid fill">
            <a:extLst>
              <a:ext uri="{FF2B5EF4-FFF2-40B4-BE49-F238E27FC236}">
                <a16:creationId xmlns:a16="http://schemas.microsoft.com/office/drawing/2014/main" id="{8A8F524D-1409-574F-F45B-66D4880C72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9914965" y="4006581"/>
            <a:ext cx="1561347" cy="1561347"/>
          </a:xfrm>
          <a:prstGeom prst="rect">
            <a:avLst/>
          </a:prstGeom>
        </p:spPr>
      </p:pic>
      <p:cxnSp>
        <p:nvCxnSpPr>
          <p:cNvPr id="12" name="Straight Connector 11">
            <a:extLst>
              <a:ext uri="{FF2B5EF4-FFF2-40B4-BE49-F238E27FC236}">
                <a16:creationId xmlns:a16="http://schemas.microsoft.com/office/drawing/2014/main" id="{19AAFFE9-22EF-2245-2764-1FD19E2BE7E7}"/>
              </a:ext>
            </a:extLst>
          </p:cNvPr>
          <p:cNvCxnSpPr>
            <a:cxnSpLocks/>
          </p:cNvCxnSpPr>
          <p:nvPr/>
        </p:nvCxnSpPr>
        <p:spPr>
          <a:xfrm>
            <a:off x="2214283" y="1649520"/>
            <a:ext cx="7548283" cy="0"/>
          </a:xfrm>
          <a:prstGeom prst="line">
            <a:avLst/>
          </a:prstGeom>
          <a:ln w="12700" cap="sq">
            <a:solidFill>
              <a:srgbClr val="006FCF"/>
            </a:solidFill>
          </a:ln>
        </p:spPr>
        <p:style>
          <a:lnRef idx="1">
            <a:schemeClr val="accent1"/>
          </a:lnRef>
          <a:fillRef idx="0">
            <a:schemeClr val="accent1"/>
          </a:fillRef>
          <a:effectRef idx="0">
            <a:schemeClr val="dk1"/>
          </a:effectRef>
          <a:fontRef idx="minor">
            <a:schemeClr val="lt1"/>
          </a:fontRef>
        </p:style>
      </p:cxnSp>
      <p:cxnSp>
        <p:nvCxnSpPr>
          <p:cNvPr id="14" name="Straight Connector 13">
            <a:extLst>
              <a:ext uri="{FF2B5EF4-FFF2-40B4-BE49-F238E27FC236}">
                <a16:creationId xmlns:a16="http://schemas.microsoft.com/office/drawing/2014/main" id="{F143E3F4-4DE4-9679-DAE0-36F7B33F3AE1}"/>
              </a:ext>
            </a:extLst>
          </p:cNvPr>
          <p:cNvCxnSpPr>
            <a:cxnSpLocks/>
          </p:cNvCxnSpPr>
          <p:nvPr/>
        </p:nvCxnSpPr>
        <p:spPr>
          <a:xfrm>
            <a:off x="2214283" y="4537759"/>
            <a:ext cx="7548283" cy="0"/>
          </a:xfrm>
          <a:prstGeom prst="line">
            <a:avLst/>
          </a:prstGeom>
          <a:ln w="12700" cap="sq">
            <a:solidFill>
              <a:srgbClr val="006FCF"/>
            </a:solidFill>
          </a:ln>
        </p:spPr>
        <p:style>
          <a:lnRef idx="1">
            <a:schemeClr val="accent1"/>
          </a:lnRef>
          <a:fillRef idx="0">
            <a:schemeClr val="accent1"/>
          </a:fillRef>
          <a:effectRef idx="0">
            <a:schemeClr val="dk1"/>
          </a:effectRef>
          <a:fontRef idx="minor">
            <a:schemeClr val="lt1"/>
          </a:fontRef>
        </p:style>
      </p:cxnSp>
      <p:sp>
        <p:nvSpPr>
          <p:cNvPr id="15" name="Content Placeholder 1">
            <a:extLst>
              <a:ext uri="{FF2B5EF4-FFF2-40B4-BE49-F238E27FC236}">
                <a16:creationId xmlns:a16="http://schemas.microsoft.com/office/drawing/2014/main" id="{1EF6CBA9-995D-C405-42C2-8F8228E0C611}"/>
              </a:ext>
            </a:extLst>
          </p:cNvPr>
          <p:cNvSpPr txBox="1">
            <a:spLocks/>
          </p:cNvSpPr>
          <p:nvPr/>
        </p:nvSpPr>
        <p:spPr>
          <a:xfrm>
            <a:off x="7024590" y="4878596"/>
            <a:ext cx="3648637" cy="525811"/>
          </a:xfrm>
          <a:prstGeom prst="rect">
            <a:avLst/>
          </a:prstGeom>
        </p:spPr>
        <p:txBody>
          <a:bodyPr vert="horz" lIns="0" tIns="0" rIns="0" bIns="0" rtlCol="0">
            <a:normAutofit/>
          </a:bodyPr>
          <a:lstStyle>
            <a:lvl1pPr marL="171450" indent="-171450" algn="l" defTabSz="685800" rtl="0" eaLnBrk="1" latinLnBrk="0" hangingPunct="1">
              <a:lnSpc>
                <a:spcPct val="120000"/>
              </a:lnSpc>
              <a:spcBef>
                <a:spcPts val="900"/>
              </a:spcBef>
              <a:buSzPct val="120000"/>
              <a:buFont typeface="Arial" panose="020B0604020202020204" pitchFamily="34" charset="0"/>
              <a:buChar char="•"/>
              <a:defRPr sz="1200" kern="1200">
                <a:solidFill>
                  <a:schemeClr val="tx1"/>
                </a:solidFill>
                <a:latin typeface="+mn-lt"/>
                <a:ea typeface="+mn-ea"/>
                <a:cs typeface="+mn-cs"/>
              </a:defRPr>
            </a:lvl1pPr>
            <a:lvl2pPr marL="347472" indent="-171450" algn="l" defTabSz="685800" rtl="0" eaLnBrk="1" latinLnBrk="0" hangingPunct="1">
              <a:lnSpc>
                <a:spcPct val="120000"/>
              </a:lnSpc>
              <a:spcBef>
                <a:spcPts val="300"/>
              </a:spcBef>
              <a:buFont typeface="Arial" panose="020B0604020202020204" pitchFamily="34" charset="0"/>
              <a:buChar char="–"/>
              <a:defRPr sz="1100" kern="1200">
                <a:solidFill>
                  <a:schemeClr val="tx1"/>
                </a:solidFill>
                <a:latin typeface="+mn-lt"/>
                <a:ea typeface="+mn-ea"/>
                <a:cs typeface="+mn-cs"/>
              </a:defRPr>
            </a:lvl2pPr>
            <a:lvl3pPr marL="512064" indent="-171450" algn="l" defTabSz="685800" rtl="0" eaLnBrk="1" latinLnBrk="0" hangingPunct="1">
              <a:lnSpc>
                <a:spcPct val="120000"/>
              </a:lnSpc>
              <a:spcBef>
                <a:spcPts val="300"/>
              </a:spcBef>
              <a:buFont typeface="Arial" panose="020B0604020202020204" pitchFamily="34" charset="0"/>
              <a:buChar char="–"/>
              <a:defRPr sz="1000" kern="1200">
                <a:solidFill>
                  <a:schemeClr val="tx1"/>
                </a:solidFill>
                <a:latin typeface="+mn-lt"/>
                <a:ea typeface="+mn-ea"/>
                <a:cs typeface="+mn-cs"/>
              </a:defRPr>
            </a:lvl3pPr>
            <a:lvl4pPr marL="685800" indent="-171450" algn="l" defTabSz="685800" rtl="0" eaLnBrk="1" latinLnBrk="0" hangingPunct="1">
              <a:lnSpc>
                <a:spcPct val="120000"/>
              </a:lnSpc>
              <a:spcBef>
                <a:spcPts val="300"/>
              </a:spcBef>
              <a:buFont typeface="Arial" panose="020B0604020202020204" pitchFamily="34" charset="0"/>
              <a:buChar char="–"/>
              <a:defRPr sz="900" kern="1200">
                <a:solidFill>
                  <a:schemeClr val="tx1"/>
                </a:solidFill>
                <a:latin typeface="+mn-lt"/>
                <a:ea typeface="+mn-ea"/>
                <a:cs typeface="+mn-cs"/>
              </a:defRPr>
            </a:lvl4pPr>
            <a:lvl5pPr marL="859536" indent="-171450" algn="l" defTabSz="685800" rtl="0" eaLnBrk="1" latinLnBrk="0" hangingPunct="1">
              <a:lnSpc>
                <a:spcPct val="120000"/>
              </a:lnSpc>
              <a:spcBef>
                <a:spcPts val="300"/>
              </a:spcBef>
              <a:buFont typeface="Arial" panose="020B0604020202020204" pitchFamily="34" charset="0"/>
              <a:buChar char="–"/>
              <a:defRPr sz="800" kern="1200">
                <a:solidFill>
                  <a:schemeClr val="tx1"/>
                </a:solidFill>
                <a:latin typeface="+mn-lt"/>
                <a:ea typeface="+mn-ea"/>
                <a:cs typeface="+mn-cs"/>
              </a:defRPr>
            </a:lvl5pPr>
            <a:lvl6pPr marL="1024128" indent="-171450" algn="l" defTabSz="685800" rtl="0" eaLnBrk="1" latinLnBrk="0" hangingPunct="1">
              <a:lnSpc>
                <a:spcPct val="120000"/>
              </a:lnSpc>
              <a:spcBef>
                <a:spcPts val="300"/>
              </a:spcBef>
              <a:buFont typeface="Arial" panose="020B0604020202020204" pitchFamily="34" charset="0"/>
              <a:buChar char="–"/>
              <a:defRPr sz="1200" kern="1200">
                <a:solidFill>
                  <a:schemeClr val="tx1"/>
                </a:solidFill>
                <a:latin typeface="+mn-lt"/>
                <a:ea typeface="+mn-ea"/>
                <a:cs typeface="+mn-cs"/>
              </a:defRPr>
            </a:lvl6pPr>
            <a:lvl7pPr marL="1197864" indent="-171450" algn="l" defTabSz="685800" rtl="0" eaLnBrk="1" latinLnBrk="0" hangingPunct="1">
              <a:lnSpc>
                <a:spcPct val="120000"/>
              </a:lnSpc>
              <a:spcBef>
                <a:spcPts val="300"/>
              </a:spcBef>
              <a:buFont typeface="Arial" panose="020B0604020202020204" pitchFamily="34" charset="0"/>
              <a:buChar char="–"/>
              <a:defRPr sz="1200" kern="1200">
                <a:solidFill>
                  <a:schemeClr val="tx1"/>
                </a:solidFill>
                <a:latin typeface="+mn-lt"/>
                <a:ea typeface="+mn-ea"/>
                <a:cs typeface="+mn-cs"/>
              </a:defRPr>
            </a:lvl7pPr>
            <a:lvl8pPr marL="1371600" indent="-171450" algn="l" defTabSz="685800" rtl="0" eaLnBrk="1" latinLnBrk="0" hangingPunct="1">
              <a:lnSpc>
                <a:spcPct val="120000"/>
              </a:lnSpc>
              <a:spcBef>
                <a:spcPts val="300"/>
              </a:spcBef>
              <a:buFont typeface="Arial" panose="020B0604020202020204" pitchFamily="34" charset="0"/>
              <a:buChar char="–"/>
              <a:defRPr sz="1200" kern="1200">
                <a:solidFill>
                  <a:schemeClr val="tx1"/>
                </a:solidFill>
                <a:latin typeface="+mn-lt"/>
                <a:ea typeface="+mn-ea"/>
                <a:cs typeface="+mn-cs"/>
              </a:defRPr>
            </a:lvl8pPr>
            <a:lvl9pPr marL="1545336" indent="-171450" algn="l" defTabSz="685800" rtl="0" eaLnBrk="1" latinLnBrk="0" hangingPunct="1">
              <a:lnSpc>
                <a:spcPct val="120000"/>
              </a:lnSpc>
              <a:spcBef>
                <a:spcPts val="3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377" rtl="0" eaLnBrk="1" fontAlgn="auto" latinLnBrk="0" hangingPunct="1">
              <a:lnSpc>
                <a:spcPct val="120000"/>
              </a:lnSpc>
              <a:spcBef>
                <a:spcPts val="1200"/>
              </a:spcBef>
              <a:spcAft>
                <a:spcPts val="0"/>
              </a:spcAft>
              <a:buClrTx/>
              <a:buSzPct val="120000"/>
              <a:buFont typeface="Arial" panose="020B0604020202020204" pitchFamily="34" charset="0"/>
              <a:buNone/>
              <a:tabLst/>
              <a:defRPr/>
            </a:pPr>
            <a:r>
              <a:rPr kumimoji="0" lang="en-US" sz="2667" b="0" i="0" u="none" strike="noStrike" kern="1200" cap="none" spc="0" normalizeH="0" baseline="0" noProof="0">
                <a:ln>
                  <a:noFill/>
                </a:ln>
                <a:solidFill>
                  <a:srgbClr val="53565A"/>
                </a:solidFill>
                <a:effectLst/>
                <a:uLnTx/>
                <a:uFillTx/>
                <a:latin typeface="BentonSansCond Bold" panose="02000806050000020004" pitchFamily="2" charset="0"/>
                <a:ea typeface="+mn-ea"/>
                <a:cs typeface="+mn-cs"/>
              </a:rPr>
              <a:t>- Steve Jobs</a:t>
            </a:r>
          </a:p>
        </p:txBody>
      </p:sp>
      <p:sp>
        <p:nvSpPr>
          <p:cNvPr id="9" name="Title 3">
            <a:extLst>
              <a:ext uri="{FF2B5EF4-FFF2-40B4-BE49-F238E27FC236}">
                <a16:creationId xmlns:a16="http://schemas.microsoft.com/office/drawing/2014/main" id="{E1A62048-215A-36EE-9AA1-9F2405AC6C84}"/>
              </a:ext>
            </a:extLst>
          </p:cNvPr>
          <p:cNvSpPr>
            <a:spLocks noGrp="1"/>
          </p:cNvSpPr>
          <p:nvPr>
            <p:ph type="title"/>
          </p:nvPr>
        </p:nvSpPr>
        <p:spPr>
          <a:xfrm>
            <a:off x="394447" y="187422"/>
            <a:ext cx="10972800" cy="911860"/>
          </a:xfrm>
        </p:spPr>
        <p:txBody>
          <a:bodyPr anchor="ctr"/>
          <a:lstStyle/>
          <a:p>
            <a:r>
              <a:rPr lang="en-US">
                <a:latin typeface="BentonSans Light" panose="02000503000000020004" pitchFamily="2" charset="0"/>
              </a:rPr>
              <a:t>Self-Assessment</a:t>
            </a:r>
          </a:p>
        </p:txBody>
      </p:sp>
    </p:spTree>
    <p:extLst>
      <p:ext uri="{BB962C8B-B14F-4D97-AF65-F5344CB8AC3E}">
        <p14:creationId xmlns:p14="http://schemas.microsoft.com/office/powerpoint/2010/main" val="3812151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FC9EA0D-9B1D-F7C9-0FFA-027B23F30C39}"/>
              </a:ext>
            </a:extLst>
          </p:cNvPr>
          <p:cNvSpPr>
            <a:spLocks noGrp="1"/>
          </p:cNvSpPr>
          <p:nvPr>
            <p:ph idx="1"/>
          </p:nvPr>
        </p:nvSpPr>
        <p:spPr>
          <a:xfrm>
            <a:off x="1636059" y="2201156"/>
            <a:ext cx="8489576" cy="2377939"/>
          </a:xfrm>
        </p:spPr>
        <p:txBody>
          <a:bodyPr>
            <a:normAutofit fontScale="92500" lnSpcReduction="10000"/>
          </a:bodyPr>
          <a:lstStyle/>
          <a:p>
            <a:pPr marL="0" indent="0" algn="ctr">
              <a:buNone/>
            </a:pPr>
            <a:r>
              <a:rPr lang="en-US" sz="3733">
                <a:latin typeface="BentonSansCond Bold" panose="02000806050000020004" pitchFamily="2" charset="0"/>
              </a:rPr>
              <a:t>The </a:t>
            </a:r>
            <a:r>
              <a:rPr lang="en-US" sz="3733">
                <a:solidFill>
                  <a:srgbClr val="0070C0"/>
                </a:solidFill>
                <a:latin typeface="BentonSansCond Bold" panose="02000806050000020004" pitchFamily="2" charset="0"/>
              </a:rPr>
              <a:t>biggest risk is not taking any risk</a:t>
            </a:r>
            <a:r>
              <a:rPr lang="en-US" sz="3733">
                <a:latin typeface="BentonSansCond Bold" panose="02000806050000020004" pitchFamily="2" charset="0"/>
              </a:rPr>
              <a:t>.  In a world that’s changing really quickly, the only strategy that is guaranteed to fail is not taking risks. </a:t>
            </a:r>
          </a:p>
        </p:txBody>
      </p:sp>
      <p:pic>
        <p:nvPicPr>
          <p:cNvPr id="7" name="Graphic 6" descr="Open quotation mark with solid fill">
            <a:extLst>
              <a:ext uri="{FF2B5EF4-FFF2-40B4-BE49-F238E27FC236}">
                <a16:creationId xmlns:a16="http://schemas.microsoft.com/office/drawing/2014/main" id="{6EB3A332-CDA2-2C2D-54E1-B78AC9A7FCA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793" y="792416"/>
            <a:ext cx="1561347" cy="1561347"/>
          </a:xfrm>
          <a:prstGeom prst="rect">
            <a:avLst/>
          </a:prstGeom>
        </p:spPr>
      </p:pic>
      <p:pic>
        <p:nvPicPr>
          <p:cNvPr id="10" name="Graphic 9" descr="Open quotation mark with solid fill">
            <a:extLst>
              <a:ext uri="{FF2B5EF4-FFF2-40B4-BE49-F238E27FC236}">
                <a16:creationId xmlns:a16="http://schemas.microsoft.com/office/drawing/2014/main" id="{8A8F524D-1409-574F-F45B-66D4880C72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9892553" y="4241676"/>
            <a:ext cx="1561347" cy="1561347"/>
          </a:xfrm>
          <a:prstGeom prst="rect">
            <a:avLst/>
          </a:prstGeom>
        </p:spPr>
      </p:pic>
      <p:cxnSp>
        <p:nvCxnSpPr>
          <p:cNvPr id="12" name="Straight Connector 11">
            <a:extLst>
              <a:ext uri="{FF2B5EF4-FFF2-40B4-BE49-F238E27FC236}">
                <a16:creationId xmlns:a16="http://schemas.microsoft.com/office/drawing/2014/main" id="{19AAFFE9-22EF-2245-2764-1FD19E2BE7E7}"/>
              </a:ext>
            </a:extLst>
          </p:cNvPr>
          <p:cNvCxnSpPr>
            <a:cxnSpLocks/>
          </p:cNvCxnSpPr>
          <p:nvPr/>
        </p:nvCxnSpPr>
        <p:spPr>
          <a:xfrm>
            <a:off x="2214283" y="1821257"/>
            <a:ext cx="7548283" cy="0"/>
          </a:xfrm>
          <a:prstGeom prst="line">
            <a:avLst/>
          </a:prstGeom>
          <a:ln w="12700" cap="sq">
            <a:solidFill>
              <a:srgbClr val="006FCF"/>
            </a:solidFill>
          </a:ln>
        </p:spPr>
        <p:style>
          <a:lnRef idx="1">
            <a:schemeClr val="accent1"/>
          </a:lnRef>
          <a:fillRef idx="0">
            <a:schemeClr val="accent1"/>
          </a:fillRef>
          <a:effectRef idx="0">
            <a:schemeClr val="dk1"/>
          </a:effectRef>
          <a:fontRef idx="minor">
            <a:schemeClr val="lt1"/>
          </a:fontRef>
        </p:style>
      </p:cxnSp>
      <p:cxnSp>
        <p:nvCxnSpPr>
          <p:cNvPr id="14" name="Straight Connector 13">
            <a:extLst>
              <a:ext uri="{FF2B5EF4-FFF2-40B4-BE49-F238E27FC236}">
                <a16:creationId xmlns:a16="http://schemas.microsoft.com/office/drawing/2014/main" id="{F143E3F4-4DE4-9679-DAE0-36F7B33F3AE1}"/>
              </a:ext>
            </a:extLst>
          </p:cNvPr>
          <p:cNvCxnSpPr>
            <a:cxnSpLocks/>
          </p:cNvCxnSpPr>
          <p:nvPr/>
        </p:nvCxnSpPr>
        <p:spPr>
          <a:xfrm>
            <a:off x="2214283" y="4709496"/>
            <a:ext cx="7548283" cy="0"/>
          </a:xfrm>
          <a:prstGeom prst="line">
            <a:avLst/>
          </a:prstGeom>
          <a:ln w="12700" cap="sq">
            <a:solidFill>
              <a:srgbClr val="006FCF"/>
            </a:solidFill>
          </a:ln>
        </p:spPr>
        <p:style>
          <a:lnRef idx="1">
            <a:schemeClr val="accent1"/>
          </a:lnRef>
          <a:fillRef idx="0">
            <a:schemeClr val="accent1"/>
          </a:fillRef>
          <a:effectRef idx="0">
            <a:schemeClr val="dk1"/>
          </a:effectRef>
          <a:fontRef idx="minor">
            <a:schemeClr val="lt1"/>
          </a:fontRef>
        </p:style>
      </p:cxnSp>
      <p:sp>
        <p:nvSpPr>
          <p:cNvPr id="15" name="Content Placeholder 1">
            <a:extLst>
              <a:ext uri="{FF2B5EF4-FFF2-40B4-BE49-F238E27FC236}">
                <a16:creationId xmlns:a16="http://schemas.microsoft.com/office/drawing/2014/main" id="{1EF6CBA9-995D-C405-42C2-8F8228E0C611}"/>
              </a:ext>
            </a:extLst>
          </p:cNvPr>
          <p:cNvSpPr txBox="1">
            <a:spLocks/>
          </p:cNvSpPr>
          <p:nvPr/>
        </p:nvSpPr>
        <p:spPr>
          <a:xfrm>
            <a:off x="6585319" y="4919182"/>
            <a:ext cx="3648637" cy="525811"/>
          </a:xfrm>
          <a:prstGeom prst="rect">
            <a:avLst/>
          </a:prstGeom>
        </p:spPr>
        <p:txBody>
          <a:bodyPr vert="horz" lIns="0" tIns="0" rIns="0" bIns="0" rtlCol="0">
            <a:normAutofit/>
          </a:bodyPr>
          <a:lstStyle>
            <a:lvl1pPr marL="171450" indent="-171450" algn="l" defTabSz="685800" rtl="0" eaLnBrk="1" latinLnBrk="0" hangingPunct="1">
              <a:lnSpc>
                <a:spcPct val="120000"/>
              </a:lnSpc>
              <a:spcBef>
                <a:spcPts val="900"/>
              </a:spcBef>
              <a:buSzPct val="120000"/>
              <a:buFont typeface="Arial" panose="020B0604020202020204" pitchFamily="34" charset="0"/>
              <a:buChar char="•"/>
              <a:defRPr sz="1200" kern="1200">
                <a:solidFill>
                  <a:schemeClr val="tx1"/>
                </a:solidFill>
                <a:latin typeface="+mn-lt"/>
                <a:ea typeface="+mn-ea"/>
                <a:cs typeface="+mn-cs"/>
              </a:defRPr>
            </a:lvl1pPr>
            <a:lvl2pPr marL="347472" indent="-171450" algn="l" defTabSz="685800" rtl="0" eaLnBrk="1" latinLnBrk="0" hangingPunct="1">
              <a:lnSpc>
                <a:spcPct val="120000"/>
              </a:lnSpc>
              <a:spcBef>
                <a:spcPts val="300"/>
              </a:spcBef>
              <a:buFont typeface="Arial" panose="020B0604020202020204" pitchFamily="34" charset="0"/>
              <a:buChar char="–"/>
              <a:defRPr sz="1100" kern="1200">
                <a:solidFill>
                  <a:schemeClr val="tx1"/>
                </a:solidFill>
                <a:latin typeface="+mn-lt"/>
                <a:ea typeface="+mn-ea"/>
                <a:cs typeface="+mn-cs"/>
              </a:defRPr>
            </a:lvl2pPr>
            <a:lvl3pPr marL="512064" indent="-171450" algn="l" defTabSz="685800" rtl="0" eaLnBrk="1" latinLnBrk="0" hangingPunct="1">
              <a:lnSpc>
                <a:spcPct val="120000"/>
              </a:lnSpc>
              <a:spcBef>
                <a:spcPts val="300"/>
              </a:spcBef>
              <a:buFont typeface="Arial" panose="020B0604020202020204" pitchFamily="34" charset="0"/>
              <a:buChar char="–"/>
              <a:defRPr sz="1000" kern="1200">
                <a:solidFill>
                  <a:schemeClr val="tx1"/>
                </a:solidFill>
                <a:latin typeface="+mn-lt"/>
                <a:ea typeface="+mn-ea"/>
                <a:cs typeface="+mn-cs"/>
              </a:defRPr>
            </a:lvl3pPr>
            <a:lvl4pPr marL="685800" indent="-171450" algn="l" defTabSz="685800" rtl="0" eaLnBrk="1" latinLnBrk="0" hangingPunct="1">
              <a:lnSpc>
                <a:spcPct val="120000"/>
              </a:lnSpc>
              <a:spcBef>
                <a:spcPts val="300"/>
              </a:spcBef>
              <a:buFont typeface="Arial" panose="020B0604020202020204" pitchFamily="34" charset="0"/>
              <a:buChar char="–"/>
              <a:defRPr sz="900" kern="1200">
                <a:solidFill>
                  <a:schemeClr val="tx1"/>
                </a:solidFill>
                <a:latin typeface="+mn-lt"/>
                <a:ea typeface="+mn-ea"/>
                <a:cs typeface="+mn-cs"/>
              </a:defRPr>
            </a:lvl4pPr>
            <a:lvl5pPr marL="859536" indent="-171450" algn="l" defTabSz="685800" rtl="0" eaLnBrk="1" latinLnBrk="0" hangingPunct="1">
              <a:lnSpc>
                <a:spcPct val="120000"/>
              </a:lnSpc>
              <a:spcBef>
                <a:spcPts val="300"/>
              </a:spcBef>
              <a:buFont typeface="Arial" panose="020B0604020202020204" pitchFamily="34" charset="0"/>
              <a:buChar char="–"/>
              <a:defRPr sz="800" kern="1200">
                <a:solidFill>
                  <a:schemeClr val="tx1"/>
                </a:solidFill>
                <a:latin typeface="+mn-lt"/>
                <a:ea typeface="+mn-ea"/>
                <a:cs typeface="+mn-cs"/>
              </a:defRPr>
            </a:lvl5pPr>
            <a:lvl6pPr marL="1024128" indent="-171450" algn="l" defTabSz="685800" rtl="0" eaLnBrk="1" latinLnBrk="0" hangingPunct="1">
              <a:lnSpc>
                <a:spcPct val="120000"/>
              </a:lnSpc>
              <a:spcBef>
                <a:spcPts val="300"/>
              </a:spcBef>
              <a:buFont typeface="Arial" panose="020B0604020202020204" pitchFamily="34" charset="0"/>
              <a:buChar char="–"/>
              <a:defRPr sz="1200" kern="1200">
                <a:solidFill>
                  <a:schemeClr val="tx1"/>
                </a:solidFill>
                <a:latin typeface="+mn-lt"/>
                <a:ea typeface="+mn-ea"/>
                <a:cs typeface="+mn-cs"/>
              </a:defRPr>
            </a:lvl6pPr>
            <a:lvl7pPr marL="1197864" indent="-171450" algn="l" defTabSz="685800" rtl="0" eaLnBrk="1" latinLnBrk="0" hangingPunct="1">
              <a:lnSpc>
                <a:spcPct val="120000"/>
              </a:lnSpc>
              <a:spcBef>
                <a:spcPts val="300"/>
              </a:spcBef>
              <a:buFont typeface="Arial" panose="020B0604020202020204" pitchFamily="34" charset="0"/>
              <a:buChar char="–"/>
              <a:defRPr sz="1200" kern="1200">
                <a:solidFill>
                  <a:schemeClr val="tx1"/>
                </a:solidFill>
                <a:latin typeface="+mn-lt"/>
                <a:ea typeface="+mn-ea"/>
                <a:cs typeface="+mn-cs"/>
              </a:defRPr>
            </a:lvl7pPr>
            <a:lvl8pPr marL="1371600" indent="-171450" algn="l" defTabSz="685800" rtl="0" eaLnBrk="1" latinLnBrk="0" hangingPunct="1">
              <a:lnSpc>
                <a:spcPct val="120000"/>
              </a:lnSpc>
              <a:spcBef>
                <a:spcPts val="300"/>
              </a:spcBef>
              <a:buFont typeface="Arial" panose="020B0604020202020204" pitchFamily="34" charset="0"/>
              <a:buChar char="–"/>
              <a:defRPr sz="1200" kern="1200">
                <a:solidFill>
                  <a:schemeClr val="tx1"/>
                </a:solidFill>
                <a:latin typeface="+mn-lt"/>
                <a:ea typeface="+mn-ea"/>
                <a:cs typeface="+mn-cs"/>
              </a:defRPr>
            </a:lvl8pPr>
            <a:lvl9pPr marL="1545336" indent="-171450" algn="l" defTabSz="685800" rtl="0" eaLnBrk="1" latinLnBrk="0" hangingPunct="1">
              <a:lnSpc>
                <a:spcPct val="120000"/>
              </a:lnSpc>
              <a:spcBef>
                <a:spcPts val="3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377" rtl="0" eaLnBrk="1" fontAlgn="auto" latinLnBrk="0" hangingPunct="1">
              <a:lnSpc>
                <a:spcPct val="120000"/>
              </a:lnSpc>
              <a:spcBef>
                <a:spcPts val="1200"/>
              </a:spcBef>
              <a:spcAft>
                <a:spcPts val="0"/>
              </a:spcAft>
              <a:buClrTx/>
              <a:buSzPct val="120000"/>
              <a:buFont typeface="Arial" panose="020B0604020202020204" pitchFamily="34" charset="0"/>
              <a:buNone/>
              <a:tabLst/>
              <a:defRPr/>
            </a:pPr>
            <a:r>
              <a:rPr kumimoji="0" lang="en-US" sz="2667" b="0" i="0" u="none" strike="noStrike" kern="1200" cap="none" spc="0" normalizeH="0" baseline="0" noProof="0">
                <a:ln>
                  <a:noFill/>
                </a:ln>
                <a:solidFill>
                  <a:srgbClr val="53565A"/>
                </a:solidFill>
                <a:effectLst/>
                <a:uLnTx/>
                <a:uFillTx/>
                <a:latin typeface="BentonSansCond Bold" panose="02000806050000020004" pitchFamily="2" charset="0"/>
                <a:ea typeface="+mn-ea"/>
                <a:cs typeface="+mn-cs"/>
              </a:rPr>
              <a:t>- Mark Zuckerberg</a:t>
            </a:r>
          </a:p>
        </p:txBody>
      </p:sp>
      <p:sp>
        <p:nvSpPr>
          <p:cNvPr id="6" name="Title 3">
            <a:extLst>
              <a:ext uri="{FF2B5EF4-FFF2-40B4-BE49-F238E27FC236}">
                <a16:creationId xmlns:a16="http://schemas.microsoft.com/office/drawing/2014/main" id="{3DCA6E1A-040C-8C97-A33A-8FEFDF748F16}"/>
              </a:ext>
            </a:extLst>
          </p:cNvPr>
          <p:cNvSpPr txBox="1">
            <a:spLocks/>
          </p:cNvSpPr>
          <p:nvPr/>
        </p:nvSpPr>
        <p:spPr>
          <a:xfrm>
            <a:off x="502024" y="241573"/>
            <a:ext cx="10972800" cy="911860"/>
          </a:xfrm>
          <a:prstGeom prst="rect">
            <a:avLst/>
          </a:prstGeom>
        </p:spPr>
        <p:txBody>
          <a:bodyPr vert="horz" lIns="0" tIns="0" rIns="0" bIns="0" rtlCol="0" anchor="ctr" anchorCtr="0">
            <a:noAutofit/>
          </a:bodyPr>
          <a:lstStyle>
            <a:lvl1pPr algn="l" defTabSz="685800" rtl="0" eaLnBrk="1" latinLnBrk="0" hangingPunct="1">
              <a:lnSpc>
                <a:spcPct val="90000"/>
              </a:lnSpc>
              <a:spcBef>
                <a:spcPct val="0"/>
              </a:spcBef>
              <a:buNone/>
              <a:defRPr sz="2400" kern="1200" spc="-40" baseline="0">
                <a:solidFill>
                  <a:schemeClr val="bg2"/>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53" normalizeH="0" baseline="0" noProof="0">
                <a:ln>
                  <a:noFill/>
                </a:ln>
                <a:solidFill>
                  <a:srgbClr val="006FCF"/>
                </a:solidFill>
                <a:effectLst/>
                <a:uLnTx/>
                <a:uFillTx/>
                <a:latin typeface="BentonSans Light" panose="02000503000000020004" pitchFamily="2" charset="0"/>
                <a:ea typeface="+mj-ea"/>
                <a:cs typeface="+mj-cs"/>
              </a:rPr>
              <a:t>Taking Risks</a:t>
            </a:r>
          </a:p>
        </p:txBody>
      </p:sp>
    </p:spTree>
    <p:extLst>
      <p:ext uri="{BB962C8B-B14F-4D97-AF65-F5344CB8AC3E}">
        <p14:creationId xmlns:p14="http://schemas.microsoft.com/office/powerpoint/2010/main" val="4264674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FC9EA0D-9B1D-F7C9-0FFA-027B23F30C39}"/>
              </a:ext>
            </a:extLst>
          </p:cNvPr>
          <p:cNvSpPr>
            <a:spLocks noGrp="1"/>
          </p:cNvSpPr>
          <p:nvPr>
            <p:ph idx="1"/>
          </p:nvPr>
        </p:nvSpPr>
        <p:spPr>
          <a:xfrm>
            <a:off x="1662953" y="2314899"/>
            <a:ext cx="8489576" cy="1738425"/>
          </a:xfrm>
        </p:spPr>
        <p:txBody>
          <a:bodyPr>
            <a:normAutofit/>
          </a:bodyPr>
          <a:lstStyle/>
          <a:p>
            <a:pPr marL="0" indent="0" algn="ctr">
              <a:buNone/>
            </a:pPr>
            <a:r>
              <a:rPr lang="en-US" sz="3733">
                <a:latin typeface="BentonSansCond Bold" panose="02000806050000020004" pitchFamily="2" charset="0"/>
              </a:rPr>
              <a:t>I have no special talents; I am only </a:t>
            </a:r>
            <a:r>
              <a:rPr lang="en-US" sz="3733">
                <a:solidFill>
                  <a:srgbClr val="0070C0"/>
                </a:solidFill>
                <a:latin typeface="BentonSansCond Bold" panose="02000806050000020004" pitchFamily="2" charset="0"/>
              </a:rPr>
              <a:t>passionately curious</a:t>
            </a:r>
            <a:r>
              <a:rPr lang="en-US" sz="3733">
                <a:latin typeface="BentonSansCond Bold" panose="02000806050000020004" pitchFamily="2" charset="0"/>
              </a:rPr>
              <a:t>.</a:t>
            </a:r>
          </a:p>
        </p:txBody>
      </p:sp>
      <p:pic>
        <p:nvPicPr>
          <p:cNvPr id="7" name="Graphic 6" descr="Open quotation mark with solid fill">
            <a:extLst>
              <a:ext uri="{FF2B5EF4-FFF2-40B4-BE49-F238E27FC236}">
                <a16:creationId xmlns:a16="http://schemas.microsoft.com/office/drawing/2014/main" id="{6EB3A332-CDA2-2C2D-54E1-B78AC9A7FCA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79512" y="776528"/>
            <a:ext cx="1561347" cy="1561347"/>
          </a:xfrm>
          <a:prstGeom prst="rect">
            <a:avLst/>
          </a:prstGeom>
        </p:spPr>
      </p:pic>
      <p:pic>
        <p:nvPicPr>
          <p:cNvPr id="10" name="Graphic 9" descr="Open quotation mark with solid fill">
            <a:extLst>
              <a:ext uri="{FF2B5EF4-FFF2-40B4-BE49-F238E27FC236}">
                <a16:creationId xmlns:a16="http://schemas.microsoft.com/office/drawing/2014/main" id="{8A8F524D-1409-574F-F45B-66D4880C72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9874624" y="3691862"/>
            <a:ext cx="1561347" cy="1561347"/>
          </a:xfrm>
          <a:prstGeom prst="rect">
            <a:avLst/>
          </a:prstGeom>
        </p:spPr>
      </p:pic>
      <p:cxnSp>
        <p:nvCxnSpPr>
          <p:cNvPr id="12" name="Straight Connector 11">
            <a:extLst>
              <a:ext uri="{FF2B5EF4-FFF2-40B4-BE49-F238E27FC236}">
                <a16:creationId xmlns:a16="http://schemas.microsoft.com/office/drawing/2014/main" id="{19AAFFE9-22EF-2245-2764-1FD19E2BE7E7}"/>
              </a:ext>
            </a:extLst>
          </p:cNvPr>
          <p:cNvCxnSpPr>
            <a:cxnSpLocks/>
          </p:cNvCxnSpPr>
          <p:nvPr/>
        </p:nvCxnSpPr>
        <p:spPr>
          <a:xfrm>
            <a:off x="2124636" y="1895684"/>
            <a:ext cx="7548283" cy="0"/>
          </a:xfrm>
          <a:prstGeom prst="line">
            <a:avLst/>
          </a:prstGeom>
          <a:ln w="12700" cap="sq">
            <a:solidFill>
              <a:srgbClr val="006FCF"/>
            </a:solidFill>
          </a:ln>
        </p:spPr>
        <p:style>
          <a:lnRef idx="1">
            <a:schemeClr val="accent1"/>
          </a:lnRef>
          <a:fillRef idx="0">
            <a:schemeClr val="accent1"/>
          </a:fillRef>
          <a:effectRef idx="0">
            <a:schemeClr val="dk1"/>
          </a:effectRef>
          <a:fontRef idx="minor">
            <a:schemeClr val="lt1"/>
          </a:fontRef>
        </p:style>
      </p:cxnSp>
      <p:cxnSp>
        <p:nvCxnSpPr>
          <p:cNvPr id="14" name="Straight Connector 13">
            <a:extLst>
              <a:ext uri="{FF2B5EF4-FFF2-40B4-BE49-F238E27FC236}">
                <a16:creationId xmlns:a16="http://schemas.microsoft.com/office/drawing/2014/main" id="{F143E3F4-4DE4-9679-DAE0-36F7B33F3AE1}"/>
              </a:ext>
            </a:extLst>
          </p:cNvPr>
          <p:cNvCxnSpPr>
            <a:cxnSpLocks/>
          </p:cNvCxnSpPr>
          <p:nvPr/>
        </p:nvCxnSpPr>
        <p:spPr>
          <a:xfrm>
            <a:off x="2124636" y="4147430"/>
            <a:ext cx="7548283" cy="0"/>
          </a:xfrm>
          <a:prstGeom prst="line">
            <a:avLst/>
          </a:prstGeom>
          <a:ln w="12700" cap="sq">
            <a:solidFill>
              <a:srgbClr val="006FCF"/>
            </a:solidFill>
          </a:ln>
        </p:spPr>
        <p:style>
          <a:lnRef idx="1">
            <a:schemeClr val="accent1"/>
          </a:lnRef>
          <a:fillRef idx="0">
            <a:schemeClr val="accent1"/>
          </a:fillRef>
          <a:effectRef idx="0">
            <a:schemeClr val="dk1"/>
          </a:effectRef>
          <a:fontRef idx="minor">
            <a:schemeClr val="lt1"/>
          </a:fontRef>
        </p:style>
      </p:cxnSp>
      <p:sp>
        <p:nvSpPr>
          <p:cNvPr id="15" name="Content Placeholder 1">
            <a:extLst>
              <a:ext uri="{FF2B5EF4-FFF2-40B4-BE49-F238E27FC236}">
                <a16:creationId xmlns:a16="http://schemas.microsoft.com/office/drawing/2014/main" id="{1EF6CBA9-995D-C405-42C2-8F8228E0C611}"/>
              </a:ext>
            </a:extLst>
          </p:cNvPr>
          <p:cNvSpPr txBox="1">
            <a:spLocks/>
          </p:cNvSpPr>
          <p:nvPr/>
        </p:nvSpPr>
        <p:spPr>
          <a:xfrm>
            <a:off x="6773578" y="4347628"/>
            <a:ext cx="3648637" cy="525811"/>
          </a:xfrm>
          <a:prstGeom prst="rect">
            <a:avLst/>
          </a:prstGeom>
        </p:spPr>
        <p:txBody>
          <a:bodyPr vert="horz" lIns="0" tIns="0" rIns="0" bIns="0" rtlCol="0">
            <a:normAutofit/>
          </a:bodyPr>
          <a:lstStyle>
            <a:lvl1pPr marL="171450" indent="-171450" algn="l" defTabSz="685800" rtl="0" eaLnBrk="1" latinLnBrk="0" hangingPunct="1">
              <a:lnSpc>
                <a:spcPct val="120000"/>
              </a:lnSpc>
              <a:spcBef>
                <a:spcPts val="900"/>
              </a:spcBef>
              <a:buSzPct val="120000"/>
              <a:buFont typeface="Arial" panose="020B0604020202020204" pitchFamily="34" charset="0"/>
              <a:buChar char="•"/>
              <a:defRPr sz="1200" kern="1200">
                <a:solidFill>
                  <a:schemeClr val="tx1"/>
                </a:solidFill>
                <a:latin typeface="+mn-lt"/>
                <a:ea typeface="+mn-ea"/>
                <a:cs typeface="+mn-cs"/>
              </a:defRPr>
            </a:lvl1pPr>
            <a:lvl2pPr marL="347472" indent="-171450" algn="l" defTabSz="685800" rtl="0" eaLnBrk="1" latinLnBrk="0" hangingPunct="1">
              <a:lnSpc>
                <a:spcPct val="120000"/>
              </a:lnSpc>
              <a:spcBef>
                <a:spcPts val="300"/>
              </a:spcBef>
              <a:buFont typeface="Arial" panose="020B0604020202020204" pitchFamily="34" charset="0"/>
              <a:buChar char="–"/>
              <a:defRPr sz="1100" kern="1200">
                <a:solidFill>
                  <a:schemeClr val="tx1"/>
                </a:solidFill>
                <a:latin typeface="+mn-lt"/>
                <a:ea typeface="+mn-ea"/>
                <a:cs typeface="+mn-cs"/>
              </a:defRPr>
            </a:lvl2pPr>
            <a:lvl3pPr marL="512064" indent="-171450" algn="l" defTabSz="685800" rtl="0" eaLnBrk="1" latinLnBrk="0" hangingPunct="1">
              <a:lnSpc>
                <a:spcPct val="120000"/>
              </a:lnSpc>
              <a:spcBef>
                <a:spcPts val="300"/>
              </a:spcBef>
              <a:buFont typeface="Arial" panose="020B0604020202020204" pitchFamily="34" charset="0"/>
              <a:buChar char="–"/>
              <a:defRPr sz="1000" kern="1200">
                <a:solidFill>
                  <a:schemeClr val="tx1"/>
                </a:solidFill>
                <a:latin typeface="+mn-lt"/>
                <a:ea typeface="+mn-ea"/>
                <a:cs typeface="+mn-cs"/>
              </a:defRPr>
            </a:lvl3pPr>
            <a:lvl4pPr marL="685800" indent="-171450" algn="l" defTabSz="685800" rtl="0" eaLnBrk="1" latinLnBrk="0" hangingPunct="1">
              <a:lnSpc>
                <a:spcPct val="120000"/>
              </a:lnSpc>
              <a:spcBef>
                <a:spcPts val="300"/>
              </a:spcBef>
              <a:buFont typeface="Arial" panose="020B0604020202020204" pitchFamily="34" charset="0"/>
              <a:buChar char="–"/>
              <a:defRPr sz="900" kern="1200">
                <a:solidFill>
                  <a:schemeClr val="tx1"/>
                </a:solidFill>
                <a:latin typeface="+mn-lt"/>
                <a:ea typeface="+mn-ea"/>
                <a:cs typeface="+mn-cs"/>
              </a:defRPr>
            </a:lvl4pPr>
            <a:lvl5pPr marL="859536" indent="-171450" algn="l" defTabSz="685800" rtl="0" eaLnBrk="1" latinLnBrk="0" hangingPunct="1">
              <a:lnSpc>
                <a:spcPct val="120000"/>
              </a:lnSpc>
              <a:spcBef>
                <a:spcPts val="300"/>
              </a:spcBef>
              <a:buFont typeface="Arial" panose="020B0604020202020204" pitchFamily="34" charset="0"/>
              <a:buChar char="–"/>
              <a:defRPr sz="800" kern="1200">
                <a:solidFill>
                  <a:schemeClr val="tx1"/>
                </a:solidFill>
                <a:latin typeface="+mn-lt"/>
                <a:ea typeface="+mn-ea"/>
                <a:cs typeface="+mn-cs"/>
              </a:defRPr>
            </a:lvl5pPr>
            <a:lvl6pPr marL="1024128" indent="-171450" algn="l" defTabSz="685800" rtl="0" eaLnBrk="1" latinLnBrk="0" hangingPunct="1">
              <a:lnSpc>
                <a:spcPct val="120000"/>
              </a:lnSpc>
              <a:spcBef>
                <a:spcPts val="300"/>
              </a:spcBef>
              <a:buFont typeface="Arial" panose="020B0604020202020204" pitchFamily="34" charset="0"/>
              <a:buChar char="–"/>
              <a:defRPr sz="1200" kern="1200">
                <a:solidFill>
                  <a:schemeClr val="tx1"/>
                </a:solidFill>
                <a:latin typeface="+mn-lt"/>
                <a:ea typeface="+mn-ea"/>
                <a:cs typeface="+mn-cs"/>
              </a:defRPr>
            </a:lvl6pPr>
            <a:lvl7pPr marL="1197864" indent="-171450" algn="l" defTabSz="685800" rtl="0" eaLnBrk="1" latinLnBrk="0" hangingPunct="1">
              <a:lnSpc>
                <a:spcPct val="120000"/>
              </a:lnSpc>
              <a:spcBef>
                <a:spcPts val="300"/>
              </a:spcBef>
              <a:buFont typeface="Arial" panose="020B0604020202020204" pitchFamily="34" charset="0"/>
              <a:buChar char="–"/>
              <a:defRPr sz="1200" kern="1200">
                <a:solidFill>
                  <a:schemeClr val="tx1"/>
                </a:solidFill>
                <a:latin typeface="+mn-lt"/>
                <a:ea typeface="+mn-ea"/>
                <a:cs typeface="+mn-cs"/>
              </a:defRPr>
            </a:lvl7pPr>
            <a:lvl8pPr marL="1371600" indent="-171450" algn="l" defTabSz="685800" rtl="0" eaLnBrk="1" latinLnBrk="0" hangingPunct="1">
              <a:lnSpc>
                <a:spcPct val="120000"/>
              </a:lnSpc>
              <a:spcBef>
                <a:spcPts val="300"/>
              </a:spcBef>
              <a:buFont typeface="Arial" panose="020B0604020202020204" pitchFamily="34" charset="0"/>
              <a:buChar char="–"/>
              <a:defRPr sz="1200" kern="1200">
                <a:solidFill>
                  <a:schemeClr val="tx1"/>
                </a:solidFill>
                <a:latin typeface="+mn-lt"/>
                <a:ea typeface="+mn-ea"/>
                <a:cs typeface="+mn-cs"/>
              </a:defRPr>
            </a:lvl8pPr>
            <a:lvl9pPr marL="1545336" indent="-171450" algn="l" defTabSz="685800" rtl="0" eaLnBrk="1" latinLnBrk="0" hangingPunct="1">
              <a:lnSpc>
                <a:spcPct val="120000"/>
              </a:lnSpc>
              <a:spcBef>
                <a:spcPts val="3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377" rtl="0" eaLnBrk="1" fontAlgn="auto" latinLnBrk="0" hangingPunct="1">
              <a:lnSpc>
                <a:spcPct val="120000"/>
              </a:lnSpc>
              <a:spcBef>
                <a:spcPts val="1200"/>
              </a:spcBef>
              <a:spcAft>
                <a:spcPts val="0"/>
              </a:spcAft>
              <a:buClrTx/>
              <a:buSzPct val="120000"/>
              <a:buFont typeface="Arial" panose="020B0604020202020204" pitchFamily="34" charset="0"/>
              <a:buNone/>
              <a:tabLst/>
              <a:defRPr/>
            </a:pPr>
            <a:r>
              <a:rPr kumimoji="0" lang="en-US" sz="2667" b="0" i="0" u="none" strike="noStrike" kern="1200" cap="none" spc="0" normalizeH="0" baseline="0" noProof="0">
                <a:ln>
                  <a:noFill/>
                </a:ln>
                <a:solidFill>
                  <a:srgbClr val="53565A"/>
                </a:solidFill>
                <a:effectLst/>
                <a:uLnTx/>
                <a:uFillTx/>
                <a:latin typeface="BentonSansCond Bold" panose="02000806050000020004" pitchFamily="2" charset="0"/>
                <a:ea typeface="+mn-ea"/>
                <a:cs typeface="+mn-cs"/>
              </a:rPr>
              <a:t>- Albert Einstein</a:t>
            </a:r>
          </a:p>
          <a:p>
            <a:pPr marL="0" marR="0" lvl="0" indent="0" algn="ctr" defTabSz="914377" rtl="0" eaLnBrk="1" fontAlgn="auto" latinLnBrk="0" hangingPunct="1">
              <a:lnSpc>
                <a:spcPct val="120000"/>
              </a:lnSpc>
              <a:spcBef>
                <a:spcPts val="1200"/>
              </a:spcBef>
              <a:spcAft>
                <a:spcPts val="0"/>
              </a:spcAft>
              <a:buClrTx/>
              <a:buSzPct val="120000"/>
              <a:buFont typeface="Arial" panose="020B0604020202020204" pitchFamily="34" charset="0"/>
              <a:buNone/>
              <a:tabLst/>
              <a:defRPr/>
            </a:pPr>
            <a:endParaRPr kumimoji="0" lang="en-US" sz="2667" b="0" i="0" u="none" strike="noStrike" kern="1200" cap="none" spc="0" normalizeH="0" baseline="0" noProof="0">
              <a:ln>
                <a:noFill/>
              </a:ln>
              <a:solidFill>
                <a:srgbClr val="53565A"/>
              </a:solidFill>
              <a:effectLst/>
              <a:uLnTx/>
              <a:uFillTx/>
              <a:latin typeface="BentonSansCond Bold" panose="02000806050000020004" pitchFamily="2" charset="0"/>
              <a:ea typeface="+mn-ea"/>
              <a:cs typeface="+mn-cs"/>
            </a:endParaRPr>
          </a:p>
        </p:txBody>
      </p:sp>
      <p:sp>
        <p:nvSpPr>
          <p:cNvPr id="4" name="Title 3">
            <a:extLst>
              <a:ext uri="{FF2B5EF4-FFF2-40B4-BE49-F238E27FC236}">
                <a16:creationId xmlns:a16="http://schemas.microsoft.com/office/drawing/2014/main" id="{64D18B32-5822-20E4-F42B-6CEC58D232A6}"/>
              </a:ext>
            </a:extLst>
          </p:cNvPr>
          <p:cNvSpPr>
            <a:spLocks noGrp="1"/>
          </p:cNvSpPr>
          <p:nvPr>
            <p:ph type="title"/>
          </p:nvPr>
        </p:nvSpPr>
        <p:spPr>
          <a:xfrm>
            <a:off x="289865" y="132399"/>
            <a:ext cx="10972800" cy="911860"/>
          </a:xfrm>
        </p:spPr>
        <p:txBody>
          <a:bodyPr anchor="ctr"/>
          <a:lstStyle/>
          <a:p>
            <a:r>
              <a:rPr lang="en-US">
                <a:latin typeface="BentonSans Light" panose="02000503000000020004" pitchFamily="2" charset="0"/>
              </a:rPr>
              <a:t>Continuous Learning</a:t>
            </a:r>
          </a:p>
        </p:txBody>
      </p:sp>
    </p:spTree>
    <p:extLst>
      <p:ext uri="{BB962C8B-B14F-4D97-AF65-F5344CB8AC3E}">
        <p14:creationId xmlns:p14="http://schemas.microsoft.com/office/powerpoint/2010/main" val="4255835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FC9EA0D-9B1D-F7C9-0FFA-027B23F30C39}"/>
              </a:ext>
            </a:extLst>
          </p:cNvPr>
          <p:cNvSpPr>
            <a:spLocks noGrp="1"/>
          </p:cNvSpPr>
          <p:nvPr>
            <p:ph idx="1"/>
          </p:nvPr>
        </p:nvSpPr>
        <p:spPr>
          <a:xfrm>
            <a:off x="1662953" y="2194584"/>
            <a:ext cx="8489576" cy="1738425"/>
          </a:xfrm>
        </p:spPr>
        <p:txBody>
          <a:bodyPr>
            <a:normAutofit/>
          </a:bodyPr>
          <a:lstStyle/>
          <a:p>
            <a:pPr marL="0" indent="0" algn="ctr">
              <a:buNone/>
            </a:pPr>
            <a:r>
              <a:rPr lang="en-US" sz="3733">
                <a:latin typeface="BentonSansCond Bold" panose="02000806050000020004" pitchFamily="2" charset="0"/>
              </a:rPr>
              <a:t>Business is all about relationships and relationships are </a:t>
            </a:r>
            <a:r>
              <a:rPr lang="en-US" sz="3733">
                <a:solidFill>
                  <a:srgbClr val="0070C0"/>
                </a:solidFill>
                <a:latin typeface="BentonSansCond Bold" panose="02000806050000020004" pitchFamily="2" charset="0"/>
              </a:rPr>
              <a:t>built on trust</a:t>
            </a:r>
            <a:r>
              <a:rPr lang="en-US" sz="3733">
                <a:latin typeface="BentonSansCond Bold" panose="02000806050000020004" pitchFamily="2" charset="0"/>
              </a:rPr>
              <a:t>. </a:t>
            </a:r>
          </a:p>
        </p:txBody>
      </p:sp>
      <p:pic>
        <p:nvPicPr>
          <p:cNvPr id="7" name="Graphic 6" descr="Open quotation mark with solid fill">
            <a:extLst>
              <a:ext uri="{FF2B5EF4-FFF2-40B4-BE49-F238E27FC236}">
                <a16:creationId xmlns:a16="http://schemas.microsoft.com/office/drawing/2014/main" id="{6EB3A332-CDA2-2C2D-54E1-B78AC9A7FCA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79512" y="656213"/>
            <a:ext cx="1561347" cy="1561347"/>
          </a:xfrm>
          <a:prstGeom prst="rect">
            <a:avLst/>
          </a:prstGeom>
        </p:spPr>
      </p:pic>
      <p:pic>
        <p:nvPicPr>
          <p:cNvPr id="10" name="Graphic 9" descr="Open quotation mark with solid fill">
            <a:extLst>
              <a:ext uri="{FF2B5EF4-FFF2-40B4-BE49-F238E27FC236}">
                <a16:creationId xmlns:a16="http://schemas.microsoft.com/office/drawing/2014/main" id="{8A8F524D-1409-574F-F45B-66D4880C72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9874624" y="3571547"/>
            <a:ext cx="1561347" cy="1561347"/>
          </a:xfrm>
          <a:prstGeom prst="rect">
            <a:avLst/>
          </a:prstGeom>
        </p:spPr>
      </p:pic>
      <p:cxnSp>
        <p:nvCxnSpPr>
          <p:cNvPr id="12" name="Straight Connector 11">
            <a:extLst>
              <a:ext uri="{FF2B5EF4-FFF2-40B4-BE49-F238E27FC236}">
                <a16:creationId xmlns:a16="http://schemas.microsoft.com/office/drawing/2014/main" id="{19AAFFE9-22EF-2245-2764-1FD19E2BE7E7}"/>
              </a:ext>
            </a:extLst>
          </p:cNvPr>
          <p:cNvCxnSpPr>
            <a:cxnSpLocks/>
          </p:cNvCxnSpPr>
          <p:nvPr/>
        </p:nvCxnSpPr>
        <p:spPr>
          <a:xfrm>
            <a:off x="2124636" y="1775369"/>
            <a:ext cx="7548283" cy="0"/>
          </a:xfrm>
          <a:prstGeom prst="line">
            <a:avLst/>
          </a:prstGeom>
          <a:ln w="12700" cap="sq">
            <a:solidFill>
              <a:srgbClr val="006FCF"/>
            </a:solidFill>
          </a:ln>
        </p:spPr>
        <p:style>
          <a:lnRef idx="1">
            <a:schemeClr val="accent1"/>
          </a:lnRef>
          <a:fillRef idx="0">
            <a:schemeClr val="accent1"/>
          </a:fillRef>
          <a:effectRef idx="0">
            <a:schemeClr val="dk1"/>
          </a:effectRef>
          <a:fontRef idx="minor">
            <a:schemeClr val="lt1"/>
          </a:fontRef>
        </p:style>
      </p:cxnSp>
      <p:cxnSp>
        <p:nvCxnSpPr>
          <p:cNvPr id="14" name="Straight Connector 13">
            <a:extLst>
              <a:ext uri="{FF2B5EF4-FFF2-40B4-BE49-F238E27FC236}">
                <a16:creationId xmlns:a16="http://schemas.microsoft.com/office/drawing/2014/main" id="{F143E3F4-4DE4-9679-DAE0-36F7B33F3AE1}"/>
              </a:ext>
            </a:extLst>
          </p:cNvPr>
          <p:cNvCxnSpPr>
            <a:cxnSpLocks/>
          </p:cNvCxnSpPr>
          <p:nvPr/>
        </p:nvCxnSpPr>
        <p:spPr>
          <a:xfrm>
            <a:off x="2124636" y="4027115"/>
            <a:ext cx="7548283" cy="0"/>
          </a:xfrm>
          <a:prstGeom prst="line">
            <a:avLst/>
          </a:prstGeom>
          <a:ln w="12700" cap="sq">
            <a:solidFill>
              <a:srgbClr val="006FCF"/>
            </a:solidFill>
          </a:ln>
        </p:spPr>
        <p:style>
          <a:lnRef idx="1">
            <a:schemeClr val="accent1"/>
          </a:lnRef>
          <a:fillRef idx="0">
            <a:schemeClr val="accent1"/>
          </a:fillRef>
          <a:effectRef idx="0">
            <a:schemeClr val="dk1"/>
          </a:effectRef>
          <a:fontRef idx="minor">
            <a:schemeClr val="lt1"/>
          </a:fontRef>
        </p:style>
      </p:cxnSp>
      <p:sp>
        <p:nvSpPr>
          <p:cNvPr id="15" name="Content Placeholder 1">
            <a:extLst>
              <a:ext uri="{FF2B5EF4-FFF2-40B4-BE49-F238E27FC236}">
                <a16:creationId xmlns:a16="http://schemas.microsoft.com/office/drawing/2014/main" id="{1EF6CBA9-995D-C405-42C2-8F8228E0C611}"/>
              </a:ext>
            </a:extLst>
          </p:cNvPr>
          <p:cNvSpPr txBox="1">
            <a:spLocks/>
          </p:cNvSpPr>
          <p:nvPr/>
        </p:nvSpPr>
        <p:spPr>
          <a:xfrm>
            <a:off x="6773578" y="4227313"/>
            <a:ext cx="3648637" cy="525811"/>
          </a:xfrm>
          <a:prstGeom prst="rect">
            <a:avLst/>
          </a:prstGeom>
        </p:spPr>
        <p:txBody>
          <a:bodyPr vert="horz" lIns="0" tIns="0" rIns="0" bIns="0" rtlCol="0">
            <a:normAutofit/>
          </a:bodyPr>
          <a:lstStyle>
            <a:lvl1pPr marL="171450" indent="-171450" algn="l" defTabSz="685800" rtl="0" eaLnBrk="1" latinLnBrk="0" hangingPunct="1">
              <a:lnSpc>
                <a:spcPct val="120000"/>
              </a:lnSpc>
              <a:spcBef>
                <a:spcPts val="900"/>
              </a:spcBef>
              <a:buSzPct val="120000"/>
              <a:buFont typeface="Arial" panose="020B0604020202020204" pitchFamily="34" charset="0"/>
              <a:buChar char="•"/>
              <a:defRPr sz="1200" kern="1200">
                <a:solidFill>
                  <a:schemeClr val="tx1"/>
                </a:solidFill>
                <a:latin typeface="+mn-lt"/>
                <a:ea typeface="+mn-ea"/>
                <a:cs typeface="+mn-cs"/>
              </a:defRPr>
            </a:lvl1pPr>
            <a:lvl2pPr marL="347472" indent="-171450" algn="l" defTabSz="685800" rtl="0" eaLnBrk="1" latinLnBrk="0" hangingPunct="1">
              <a:lnSpc>
                <a:spcPct val="120000"/>
              </a:lnSpc>
              <a:spcBef>
                <a:spcPts val="300"/>
              </a:spcBef>
              <a:buFont typeface="Arial" panose="020B0604020202020204" pitchFamily="34" charset="0"/>
              <a:buChar char="–"/>
              <a:defRPr sz="1100" kern="1200">
                <a:solidFill>
                  <a:schemeClr val="tx1"/>
                </a:solidFill>
                <a:latin typeface="+mn-lt"/>
                <a:ea typeface="+mn-ea"/>
                <a:cs typeface="+mn-cs"/>
              </a:defRPr>
            </a:lvl2pPr>
            <a:lvl3pPr marL="512064" indent="-171450" algn="l" defTabSz="685800" rtl="0" eaLnBrk="1" latinLnBrk="0" hangingPunct="1">
              <a:lnSpc>
                <a:spcPct val="120000"/>
              </a:lnSpc>
              <a:spcBef>
                <a:spcPts val="300"/>
              </a:spcBef>
              <a:buFont typeface="Arial" panose="020B0604020202020204" pitchFamily="34" charset="0"/>
              <a:buChar char="–"/>
              <a:defRPr sz="1000" kern="1200">
                <a:solidFill>
                  <a:schemeClr val="tx1"/>
                </a:solidFill>
                <a:latin typeface="+mn-lt"/>
                <a:ea typeface="+mn-ea"/>
                <a:cs typeface="+mn-cs"/>
              </a:defRPr>
            </a:lvl3pPr>
            <a:lvl4pPr marL="685800" indent="-171450" algn="l" defTabSz="685800" rtl="0" eaLnBrk="1" latinLnBrk="0" hangingPunct="1">
              <a:lnSpc>
                <a:spcPct val="120000"/>
              </a:lnSpc>
              <a:spcBef>
                <a:spcPts val="300"/>
              </a:spcBef>
              <a:buFont typeface="Arial" panose="020B0604020202020204" pitchFamily="34" charset="0"/>
              <a:buChar char="–"/>
              <a:defRPr sz="900" kern="1200">
                <a:solidFill>
                  <a:schemeClr val="tx1"/>
                </a:solidFill>
                <a:latin typeface="+mn-lt"/>
                <a:ea typeface="+mn-ea"/>
                <a:cs typeface="+mn-cs"/>
              </a:defRPr>
            </a:lvl4pPr>
            <a:lvl5pPr marL="859536" indent="-171450" algn="l" defTabSz="685800" rtl="0" eaLnBrk="1" latinLnBrk="0" hangingPunct="1">
              <a:lnSpc>
                <a:spcPct val="120000"/>
              </a:lnSpc>
              <a:spcBef>
                <a:spcPts val="300"/>
              </a:spcBef>
              <a:buFont typeface="Arial" panose="020B0604020202020204" pitchFamily="34" charset="0"/>
              <a:buChar char="–"/>
              <a:defRPr sz="800" kern="1200">
                <a:solidFill>
                  <a:schemeClr val="tx1"/>
                </a:solidFill>
                <a:latin typeface="+mn-lt"/>
                <a:ea typeface="+mn-ea"/>
                <a:cs typeface="+mn-cs"/>
              </a:defRPr>
            </a:lvl5pPr>
            <a:lvl6pPr marL="1024128" indent="-171450" algn="l" defTabSz="685800" rtl="0" eaLnBrk="1" latinLnBrk="0" hangingPunct="1">
              <a:lnSpc>
                <a:spcPct val="120000"/>
              </a:lnSpc>
              <a:spcBef>
                <a:spcPts val="300"/>
              </a:spcBef>
              <a:buFont typeface="Arial" panose="020B0604020202020204" pitchFamily="34" charset="0"/>
              <a:buChar char="–"/>
              <a:defRPr sz="1200" kern="1200">
                <a:solidFill>
                  <a:schemeClr val="tx1"/>
                </a:solidFill>
                <a:latin typeface="+mn-lt"/>
                <a:ea typeface="+mn-ea"/>
                <a:cs typeface="+mn-cs"/>
              </a:defRPr>
            </a:lvl6pPr>
            <a:lvl7pPr marL="1197864" indent="-171450" algn="l" defTabSz="685800" rtl="0" eaLnBrk="1" latinLnBrk="0" hangingPunct="1">
              <a:lnSpc>
                <a:spcPct val="120000"/>
              </a:lnSpc>
              <a:spcBef>
                <a:spcPts val="300"/>
              </a:spcBef>
              <a:buFont typeface="Arial" panose="020B0604020202020204" pitchFamily="34" charset="0"/>
              <a:buChar char="–"/>
              <a:defRPr sz="1200" kern="1200">
                <a:solidFill>
                  <a:schemeClr val="tx1"/>
                </a:solidFill>
                <a:latin typeface="+mn-lt"/>
                <a:ea typeface="+mn-ea"/>
                <a:cs typeface="+mn-cs"/>
              </a:defRPr>
            </a:lvl7pPr>
            <a:lvl8pPr marL="1371600" indent="-171450" algn="l" defTabSz="685800" rtl="0" eaLnBrk="1" latinLnBrk="0" hangingPunct="1">
              <a:lnSpc>
                <a:spcPct val="120000"/>
              </a:lnSpc>
              <a:spcBef>
                <a:spcPts val="300"/>
              </a:spcBef>
              <a:buFont typeface="Arial" panose="020B0604020202020204" pitchFamily="34" charset="0"/>
              <a:buChar char="–"/>
              <a:defRPr sz="1200" kern="1200">
                <a:solidFill>
                  <a:schemeClr val="tx1"/>
                </a:solidFill>
                <a:latin typeface="+mn-lt"/>
                <a:ea typeface="+mn-ea"/>
                <a:cs typeface="+mn-cs"/>
              </a:defRPr>
            </a:lvl8pPr>
            <a:lvl9pPr marL="1545336" indent="-171450" algn="l" defTabSz="685800" rtl="0" eaLnBrk="1" latinLnBrk="0" hangingPunct="1">
              <a:lnSpc>
                <a:spcPct val="120000"/>
              </a:lnSpc>
              <a:spcBef>
                <a:spcPts val="300"/>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914377" rtl="0" eaLnBrk="1" fontAlgn="auto" latinLnBrk="0" hangingPunct="1">
              <a:lnSpc>
                <a:spcPct val="120000"/>
              </a:lnSpc>
              <a:spcBef>
                <a:spcPts val="1200"/>
              </a:spcBef>
              <a:spcAft>
                <a:spcPts val="0"/>
              </a:spcAft>
              <a:buClrTx/>
              <a:buSzPct val="120000"/>
              <a:buFont typeface="Arial" panose="020B0604020202020204" pitchFamily="34" charset="0"/>
              <a:buNone/>
              <a:tabLst/>
              <a:defRPr/>
            </a:pPr>
            <a:r>
              <a:rPr kumimoji="0" lang="en-US" sz="2667" b="0" i="0" u="none" strike="noStrike" kern="1200" cap="none" spc="0" normalizeH="0" baseline="0" noProof="0">
                <a:ln>
                  <a:noFill/>
                </a:ln>
                <a:solidFill>
                  <a:srgbClr val="53565A"/>
                </a:solidFill>
                <a:effectLst/>
                <a:uLnTx/>
                <a:uFillTx/>
                <a:latin typeface="BentonSansCond Bold" panose="02000806050000020004" pitchFamily="2" charset="0"/>
                <a:ea typeface="+mn-ea"/>
                <a:cs typeface="+mn-cs"/>
              </a:rPr>
              <a:t>- Tom Peters</a:t>
            </a:r>
          </a:p>
          <a:p>
            <a:pPr marL="0" marR="0" lvl="0" indent="0" algn="ctr" defTabSz="914377" rtl="0" eaLnBrk="1" fontAlgn="auto" latinLnBrk="0" hangingPunct="1">
              <a:lnSpc>
                <a:spcPct val="120000"/>
              </a:lnSpc>
              <a:spcBef>
                <a:spcPts val="1200"/>
              </a:spcBef>
              <a:spcAft>
                <a:spcPts val="0"/>
              </a:spcAft>
              <a:buClrTx/>
              <a:buSzPct val="120000"/>
              <a:buFont typeface="Arial" panose="020B0604020202020204" pitchFamily="34" charset="0"/>
              <a:buNone/>
              <a:tabLst/>
              <a:defRPr/>
            </a:pPr>
            <a:endParaRPr kumimoji="0" lang="en-US" sz="2667" b="0" i="0" u="none" strike="noStrike" kern="1200" cap="none" spc="0" normalizeH="0" baseline="0" noProof="0">
              <a:ln>
                <a:noFill/>
              </a:ln>
              <a:solidFill>
                <a:srgbClr val="53565A"/>
              </a:solidFill>
              <a:effectLst/>
              <a:uLnTx/>
              <a:uFillTx/>
              <a:latin typeface="BentonSansCond Bold" panose="02000806050000020004" pitchFamily="2" charset="0"/>
              <a:ea typeface="+mn-ea"/>
              <a:cs typeface="+mn-cs"/>
            </a:endParaRPr>
          </a:p>
        </p:txBody>
      </p:sp>
      <p:sp>
        <p:nvSpPr>
          <p:cNvPr id="5" name="Title 3">
            <a:extLst>
              <a:ext uri="{FF2B5EF4-FFF2-40B4-BE49-F238E27FC236}">
                <a16:creationId xmlns:a16="http://schemas.microsoft.com/office/drawing/2014/main" id="{78B3D168-84CB-9C81-41B6-AF10643475E7}"/>
              </a:ext>
            </a:extLst>
          </p:cNvPr>
          <p:cNvSpPr txBox="1">
            <a:spLocks/>
          </p:cNvSpPr>
          <p:nvPr/>
        </p:nvSpPr>
        <p:spPr>
          <a:xfrm>
            <a:off x="421341" y="199987"/>
            <a:ext cx="10972800" cy="911860"/>
          </a:xfrm>
          <a:prstGeom prst="rect">
            <a:avLst/>
          </a:prstGeom>
        </p:spPr>
        <p:txBody>
          <a:bodyPr vert="horz" lIns="0" tIns="0" rIns="0" bIns="0" rtlCol="0" anchor="ctr" anchorCtr="0">
            <a:noAutofit/>
          </a:bodyPr>
          <a:lstStyle>
            <a:lvl1pPr algn="l" defTabSz="685800" rtl="0" eaLnBrk="1" latinLnBrk="0" hangingPunct="1">
              <a:lnSpc>
                <a:spcPct val="90000"/>
              </a:lnSpc>
              <a:spcBef>
                <a:spcPct val="0"/>
              </a:spcBef>
              <a:buNone/>
              <a:defRPr sz="2400" kern="1200" spc="-40" baseline="0">
                <a:solidFill>
                  <a:schemeClr val="bg2"/>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53" normalizeH="0" baseline="0" noProof="0">
                <a:ln>
                  <a:noFill/>
                </a:ln>
                <a:solidFill>
                  <a:srgbClr val="006FCF"/>
                </a:solidFill>
                <a:effectLst/>
                <a:uLnTx/>
                <a:uFillTx/>
                <a:latin typeface="BentonSans Light" panose="02000503000000020004" pitchFamily="2" charset="0"/>
                <a:ea typeface="+mj-ea"/>
                <a:cs typeface="+mj-cs"/>
              </a:rPr>
              <a:t>Building Relationships</a:t>
            </a:r>
          </a:p>
        </p:txBody>
      </p:sp>
    </p:spTree>
    <p:extLst>
      <p:ext uri="{BB962C8B-B14F-4D97-AF65-F5344CB8AC3E}">
        <p14:creationId xmlns:p14="http://schemas.microsoft.com/office/powerpoint/2010/main" val="3290457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FC9EA0D-9B1D-F7C9-0FFA-027B23F30C39}"/>
              </a:ext>
            </a:extLst>
          </p:cNvPr>
          <p:cNvSpPr>
            <a:spLocks noGrp="1"/>
          </p:cNvSpPr>
          <p:nvPr>
            <p:ph idx="1"/>
          </p:nvPr>
        </p:nvSpPr>
        <p:spPr>
          <a:xfrm>
            <a:off x="1704782" y="2477324"/>
            <a:ext cx="8489576" cy="911861"/>
          </a:xfrm>
        </p:spPr>
        <p:txBody>
          <a:bodyPr>
            <a:normAutofit/>
          </a:bodyPr>
          <a:lstStyle/>
          <a:p>
            <a:pPr marL="0" indent="0" algn="ctr">
              <a:buNone/>
            </a:pPr>
            <a:r>
              <a:rPr lang="en-US" sz="3733">
                <a:latin typeface="BentonSansCond Bold" panose="02000806050000020004" pitchFamily="2" charset="0"/>
              </a:rPr>
              <a:t>Deserve got nothing to do with it.  </a:t>
            </a:r>
          </a:p>
        </p:txBody>
      </p:sp>
      <p:pic>
        <p:nvPicPr>
          <p:cNvPr id="7" name="Graphic 6" descr="Open quotation mark with solid fill">
            <a:extLst>
              <a:ext uri="{FF2B5EF4-FFF2-40B4-BE49-F238E27FC236}">
                <a16:creationId xmlns:a16="http://schemas.microsoft.com/office/drawing/2014/main" id="{6EB3A332-CDA2-2C2D-54E1-B78AC9A7FCA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21341" y="938953"/>
            <a:ext cx="1561347" cy="1561347"/>
          </a:xfrm>
          <a:prstGeom prst="rect">
            <a:avLst/>
          </a:prstGeom>
        </p:spPr>
      </p:pic>
      <p:pic>
        <p:nvPicPr>
          <p:cNvPr id="10" name="Graphic 9" descr="Open quotation mark with solid fill">
            <a:extLst>
              <a:ext uri="{FF2B5EF4-FFF2-40B4-BE49-F238E27FC236}">
                <a16:creationId xmlns:a16="http://schemas.microsoft.com/office/drawing/2014/main" id="{8A8F524D-1409-574F-F45B-66D4880C72E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9916453" y="3243637"/>
            <a:ext cx="1561347" cy="1561347"/>
          </a:xfrm>
          <a:prstGeom prst="rect">
            <a:avLst/>
          </a:prstGeom>
        </p:spPr>
      </p:pic>
      <p:cxnSp>
        <p:nvCxnSpPr>
          <p:cNvPr id="12" name="Straight Connector 11">
            <a:extLst>
              <a:ext uri="{FF2B5EF4-FFF2-40B4-BE49-F238E27FC236}">
                <a16:creationId xmlns:a16="http://schemas.microsoft.com/office/drawing/2014/main" id="{19AAFFE9-22EF-2245-2764-1FD19E2BE7E7}"/>
              </a:ext>
            </a:extLst>
          </p:cNvPr>
          <p:cNvCxnSpPr>
            <a:cxnSpLocks/>
          </p:cNvCxnSpPr>
          <p:nvPr/>
        </p:nvCxnSpPr>
        <p:spPr>
          <a:xfrm>
            <a:off x="2166465" y="2058109"/>
            <a:ext cx="7548283" cy="0"/>
          </a:xfrm>
          <a:prstGeom prst="line">
            <a:avLst/>
          </a:prstGeom>
          <a:ln w="12700" cap="sq">
            <a:solidFill>
              <a:srgbClr val="006FCF"/>
            </a:solidFill>
          </a:ln>
        </p:spPr>
        <p:style>
          <a:lnRef idx="1">
            <a:schemeClr val="accent1"/>
          </a:lnRef>
          <a:fillRef idx="0">
            <a:schemeClr val="accent1"/>
          </a:fillRef>
          <a:effectRef idx="0">
            <a:schemeClr val="dk1"/>
          </a:effectRef>
          <a:fontRef idx="minor">
            <a:schemeClr val="lt1"/>
          </a:fontRef>
        </p:style>
      </p:cxnSp>
      <p:cxnSp>
        <p:nvCxnSpPr>
          <p:cNvPr id="14" name="Straight Connector 13">
            <a:extLst>
              <a:ext uri="{FF2B5EF4-FFF2-40B4-BE49-F238E27FC236}">
                <a16:creationId xmlns:a16="http://schemas.microsoft.com/office/drawing/2014/main" id="{F143E3F4-4DE4-9679-DAE0-36F7B33F3AE1}"/>
              </a:ext>
            </a:extLst>
          </p:cNvPr>
          <p:cNvCxnSpPr>
            <a:cxnSpLocks/>
          </p:cNvCxnSpPr>
          <p:nvPr/>
        </p:nvCxnSpPr>
        <p:spPr>
          <a:xfrm>
            <a:off x="2221056" y="3591072"/>
            <a:ext cx="7548283" cy="0"/>
          </a:xfrm>
          <a:prstGeom prst="line">
            <a:avLst/>
          </a:prstGeom>
          <a:ln w="12700" cap="sq">
            <a:solidFill>
              <a:srgbClr val="006FCF"/>
            </a:solidFill>
          </a:ln>
        </p:spPr>
        <p:style>
          <a:lnRef idx="1">
            <a:schemeClr val="accent1"/>
          </a:lnRef>
          <a:fillRef idx="0">
            <a:schemeClr val="accent1"/>
          </a:fillRef>
          <a:effectRef idx="0">
            <a:schemeClr val="dk1"/>
          </a:effectRef>
          <a:fontRef idx="minor">
            <a:schemeClr val="lt1"/>
          </a:fontRef>
        </p:style>
      </p:cxnSp>
      <p:sp>
        <p:nvSpPr>
          <p:cNvPr id="5" name="Title 3">
            <a:extLst>
              <a:ext uri="{FF2B5EF4-FFF2-40B4-BE49-F238E27FC236}">
                <a16:creationId xmlns:a16="http://schemas.microsoft.com/office/drawing/2014/main" id="{78B3D168-84CB-9C81-41B6-AF10643475E7}"/>
              </a:ext>
            </a:extLst>
          </p:cNvPr>
          <p:cNvSpPr txBox="1">
            <a:spLocks/>
          </p:cNvSpPr>
          <p:nvPr/>
        </p:nvSpPr>
        <p:spPr>
          <a:xfrm>
            <a:off x="421341" y="199987"/>
            <a:ext cx="10972800" cy="911860"/>
          </a:xfrm>
          <a:prstGeom prst="rect">
            <a:avLst/>
          </a:prstGeom>
        </p:spPr>
        <p:txBody>
          <a:bodyPr vert="horz" lIns="0" tIns="0" rIns="0" bIns="0" rtlCol="0" anchor="ctr" anchorCtr="0">
            <a:noAutofit/>
          </a:bodyPr>
          <a:lstStyle>
            <a:lvl1pPr algn="l" defTabSz="685800" rtl="0" eaLnBrk="1" latinLnBrk="0" hangingPunct="1">
              <a:lnSpc>
                <a:spcPct val="90000"/>
              </a:lnSpc>
              <a:spcBef>
                <a:spcPct val="0"/>
              </a:spcBef>
              <a:buNone/>
              <a:defRPr sz="2400" kern="1200" spc="-40" baseline="0">
                <a:solidFill>
                  <a:schemeClr val="bg2"/>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53" normalizeH="0" baseline="0" noProof="0">
                <a:ln>
                  <a:noFill/>
                </a:ln>
                <a:solidFill>
                  <a:srgbClr val="006FCF"/>
                </a:solidFill>
                <a:effectLst/>
                <a:uLnTx/>
                <a:uFillTx/>
                <a:latin typeface="BentonSans Light" panose="02000503000000020004" pitchFamily="2" charset="0"/>
                <a:ea typeface="+mj-ea"/>
                <a:cs typeface="+mj-cs"/>
              </a:rPr>
              <a:t>There Will Be Setbacks</a:t>
            </a:r>
          </a:p>
        </p:txBody>
      </p:sp>
      <p:sp>
        <p:nvSpPr>
          <p:cNvPr id="4" name="Content Placeholder 1">
            <a:extLst>
              <a:ext uri="{FF2B5EF4-FFF2-40B4-BE49-F238E27FC236}">
                <a16:creationId xmlns:a16="http://schemas.microsoft.com/office/drawing/2014/main" id="{C25D75A0-86EE-2BD5-2FB3-45632A368066}"/>
              </a:ext>
            </a:extLst>
          </p:cNvPr>
          <p:cNvSpPr txBox="1">
            <a:spLocks/>
          </p:cNvSpPr>
          <p:nvPr/>
        </p:nvSpPr>
        <p:spPr>
          <a:xfrm>
            <a:off x="6404569" y="3822560"/>
            <a:ext cx="3598720" cy="1250435"/>
          </a:xfrm>
          <a:prstGeom prst="rect">
            <a:avLst/>
          </a:prstGeom>
        </p:spPr>
        <p:txBody>
          <a:bodyPr vert="horz" lIns="0" tIns="0" rIns="0" bIns="0" rtlCol="0">
            <a:normAutofit/>
          </a:bodyPr>
          <a:lstStyle>
            <a:lvl1pPr marL="171450" indent="-171450" algn="l" defTabSz="685800" rtl="0" eaLnBrk="1" latinLnBrk="0" hangingPunct="1">
              <a:lnSpc>
                <a:spcPct val="120000"/>
              </a:lnSpc>
              <a:spcBef>
                <a:spcPts val="900"/>
              </a:spcBef>
              <a:buSzPct val="120000"/>
              <a:buFont typeface="Arial" panose="020B0604020202020204" pitchFamily="34" charset="0"/>
              <a:buChar char="•"/>
              <a:defRPr sz="1200" kern="1200">
                <a:solidFill>
                  <a:schemeClr val="tx1"/>
                </a:solidFill>
                <a:latin typeface="+mn-lt"/>
                <a:ea typeface="+mn-ea"/>
                <a:cs typeface="+mn-cs"/>
              </a:defRPr>
            </a:lvl1pPr>
            <a:lvl2pPr marL="347472" indent="-171450" algn="l" defTabSz="685800" rtl="0" eaLnBrk="1" latinLnBrk="0" hangingPunct="1">
              <a:lnSpc>
                <a:spcPct val="120000"/>
              </a:lnSpc>
              <a:spcBef>
                <a:spcPts val="300"/>
              </a:spcBef>
              <a:buFont typeface="Arial" panose="020B0604020202020204" pitchFamily="34" charset="0"/>
              <a:buChar char="–"/>
              <a:defRPr sz="1100" kern="1200">
                <a:solidFill>
                  <a:schemeClr val="tx1"/>
                </a:solidFill>
                <a:latin typeface="+mn-lt"/>
                <a:ea typeface="+mn-ea"/>
                <a:cs typeface="+mn-cs"/>
              </a:defRPr>
            </a:lvl2pPr>
            <a:lvl3pPr marL="512064" indent="-171450" algn="l" defTabSz="685800" rtl="0" eaLnBrk="1" latinLnBrk="0" hangingPunct="1">
              <a:lnSpc>
                <a:spcPct val="120000"/>
              </a:lnSpc>
              <a:spcBef>
                <a:spcPts val="300"/>
              </a:spcBef>
              <a:buFont typeface="Arial" panose="020B0604020202020204" pitchFamily="34" charset="0"/>
              <a:buChar char="–"/>
              <a:defRPr sz="1000" kern="1200">
                <a:solidFill>
                  <a:schemeClr val="tx1"/>
                </a:solidFill>
                <a:latin typeface="+mn-lt"/>
                <a:ea typeface="+mn-ea"/>
                <a:cs typeface="+mn-cs"/>
              </a:defRPr>
            </a:lvl3pPr>
            <a:lvl4pPr marL="685800" indent="-171450" algn="l" defTabSz="685800" rtl="0" eaLnBrk="1" latinLnBrk="0" hangingPunct="1">
              <a:lnSpc>
                <a:spcPct val="120000"/>
              </a:lnSpc>
              <a:spcBef>
                <a:spcPts val="300"/>
              </a:spcBef>
              <a:buFont typeface="Arial" panose="020B0604020202020204" pitchFamily="34" charset="0"/>
              <a:buChar char="–"/>
              <a:defRPr sz="900" kern="1200">
                <a:solidFill>
                  <a:schemeClr val="tx1"/>
                </a:solidFill>
                <a:latin typeface="+mn-lt"/>
                <a:ea typeface="+mn-ea"/>
                <a:cs typeface="+mn-cs"/>
              </a:defRPr>
            </a:lvl4pPr>
            <a:lvl5pPr marL="859536" indent="-171450" algn="l" defTabSz="685800" rtl="0" eaLnBrk="1" latinLnBrk="0" hangingPunct="1">
              <a:lnSpc>
                <a:spcPct val="120000"/>
              </a:lnSpc>
              <a:spcBef>
                <a:spcPts val="300"/>
              </a:spcBef>
              <a:buFont typeface="Arial" panose="020B0604020202020204" pitchFamily="34" charset="0"/>
              <a:buChar char="–"/>
              <a:defRPr sz="800" kern="1200">
                <a:solidFill>
                  <a:schemeClr val="tx1"/>
                </a:solidFill>
                <a:latin typeface="+mn-lt"/>
                <a:ea typeface="+mn-ea"/>
                <a:cs typeface="+mn-cs"/>
              </a:defRPr>
            </a:lvl5pPr>
            <a:lvl6pPr marL="1024128" indent="-171450" algn="l" defTabSz="685800" rtl="0" eaLnBrk="1" latinLnBrk="0" hangingPunct="1">
              <a:lnSpc>
                <a:spcPct val="120000"/>
              </a:lnSpc>
              <a:spcBef>
                <a:spcPts val="300"/>
              </a:spcBef>
              <a:buFont typeface="Arial" panose="020B0604020202020204" pitchFamily="34" charset="0"/>
              <a:buChar char="–"/>
              <a:defRPr sz="1200" kern="1200">
                <a:solidFill>
                  <a:schemeClr val="tx1"/>
                </a:solidFill>
                <a:latin typeface="+mn-lt"/>
                <a:ea typeface="+mn-ea"/>
                <a:cs typeface="+mn-cs"/>
              </a:defRPr>
            </a:lvl6pPr>
            <a:lvl7pPr marL="1197864" indent="-171450" algn="l" defTabSz="685800" rtl="0" eaLnBrk="1" latinLnBrk="0" hangingPunct="1">
              <a:lnSpc>
                <a:spcPct val="120000"/>
              </a:lnSpc>
              <a:spcBef>
                <a:spcPts val="300"/>
              </a:spcBef>
              <a:buFont typeface="Arial" panose="020B0604020202020204" pitchFamily="34" charset="0"/>
              <a:buChar char="–"/>
              <a:defRPr sz="1200" kern="1200">
                <a:solidFill>
                  <a:schemeClr val="tx1"/>
                </a:solidFill>
                <a:latin typeface="+mn-lt"/>
                <a:ea typeface="+mn-ea"/>
                <a:cs typeface="+mn-cs"/>
              </a:defRPr>
            </a:lvl7pPr>
            <a:lvl8pPr marL="1371600" indent="-171450" algn="l" defTabSz="685800" rtl="0" eaLnBrk="1" latinLnBrk="0" hangingPunct="1">
              <a:lnSpc>
                <a:spcPct val="120000"/>
              </a:lnSpc>
              <a:spcBef>
                <a:spcPts val="300"/>
              </a:spcBef>
              <a:buFont typeface="Arial" panose="020B0604020202020204" pitchFamily="34" charset="0"/>
              <a:buChar char="–"/>
              <a:defRPr sz="1200" kern="1200">
                <a:solidFill>
                  <a:schemeClr val="tx1"/>
                </a:solidFill>
                <a:latin typeface="+mn-lt"/>
                <a:ea typeface="+mn-ea"/>
                <a:cs typeface="+mn-cs"/>
              </a:defRPr>
            </a:lvl8pPr>
            <a:lvl9pPr marL="1545336" indent="-171450" algn="l" defTabSz="685800" rtl="0" eaLnBrk="1" latinLnBrk="0" hangingPunct="1">
              <a:lnSpc>
                <a:spcPct val="120000"/>
              </a:lnSpc>
              <a:spcBef>
                <a:spcPts val="300"/>
              </a:spcBef>
              <a:buFont typeface="Arial" panose="020B0604020202020204" pitchFamily="34" charset="0"/>
              <a:buChar char="–"/>
              <a:defRPr sz="1200" kern="1200">
                <a:solidFill>
                  <a:schemeClr val="tx1"/>
                </a:solidFill>
                <a:latin typeface="+mn-lt"/>
                <a:ea typeface="+mn-ea"/>
                <a:cs typeface="+mn-cs"/>
              </a:defRPr>
            </a:lvl9pPr>
          </a:lstStyle>
          <a:p>
            <a:pPr marL="228594" marR="0" lvl="0" indent="-228594" algn="ctr" defTabSz="914377" rtl="0" eaLnBrk="1" fontAlgn="auto" latinLnBrk="0" hangingPunct="1">
              <a:lnSpc>
                <a:spcPct val="120000"/>
              </a:lnSpc>
              <a:spcBef>
                <a:spcPts val="1200"/>
              </a:spcBef>
              <a:spcAft>
                <a:spcPts val="0"/>
              </a:spcAft>
              <a:buClrTx/>
              <a:buSzPct val="120000"/>
              <a:buFontTx/>
              <a:buChar char="-"/>
              <a:tabLst/>
              <a:defRPr/>
            </a:pPr>
            <a:r>
              <a:rPr kumimoji="0" lang="en-US" sz="2667" b="0" i="0" u="none" strike="noStrike" kern="1200" cap="none" spc="0" normalizeH="0" baseline="0" noProof="0">
                <a:ln>
                  <a:noFill/>
                </a:ln>
                <a:solidFill>
                  <a:srgbClr val="53565A"/>
                </a:solidFill>
                <a:effectLst/>
                <a:uLnTx/>
                <a:uFillTx/>
                <a:latin typeface="BentonSansCond Bold" panose="02000806050000020004" pitchFamily="2" charset="0"/>
                <a:ea typeface="+mn-ea"/>
                <a:cs typeface="+mn-cs"/>
              </a:rPr>
              <a:t>Snoop from </a:t>
            </a:r>
            <a:r>
              <a:rPr kumimoji="0" lang="en-US" sz="2667" b="0" i="1" u="none" strike="noStrike" kern="1200" cap="none" spc="0" normalizeH="0" baseline="0" noProof="0">
                <a:ln>
                  <a:noFill/>
                </a:ln>
                <a:solidFill>
                  <a:srgbClr val="53565A"/>
                </a:solidFill>
                <a:effectLst/>
                <a:uLnTx/>
                <a:uFillTx/>
                <a:latin typeface="BentonSansCond Bold" panose="02000806050000020004" pitchFamily="2" charset="0"/>
                <a:ea typeface="+mn-ea"/>
                <a:cs typeface="+mn-cs"/>
              </a:rPr>
              <a:t>The Wire</a:t>
            </a:r>
          </a:p>
          <a:p>
            <a:pPr marL="0" marR="0" lvl="0" indent="0" algn="ctr" defTabSz="914377" rtl="0" eaLnBrk="1" fontAlgn="auto" latinLnBrk="0" hangingPunct="1">
              <a:lnSpc>
                <a:spcPct val="120000"/>
              </a:lnSpc>
              <a:spcBef>
                <a:spcPts val="1200"/>
              </a:spcBef>
              <a:spcAft>
                <a:spcPts val="0"/>
              </a:spcAft>
              <a:buClrTx/>
              <a:buSzPct val="120000"/>
              <a:buFont typeface="Arial" panose="020B0604020202020204" pitchFamily="34" charset="0"/>
              <a:buNone/>
              <a:tabLst/>
              <a:defRPr/>
            </a:pPr>
            <a:endParaRPr kumimoji="0" lang="en-US" sz="2667" b="0" i="0" u="none" strike="noStrike" kern="1200" cap="none" spc="0" normalizeH="0" baseline="0" noProof="0">
              <a:ln>
                <a:noFill/>
              </a:ln>
              <a:solidFill>
                <a:srgbClr val="53565A"/>
              </a:solidFill>
              <a:effectLst/>
              <a:uLnTx/>
              <a:uFillTx/>
              <a:latin typeface="BentonSansCond Bold" panose="02000806050000020004" pitchFamily="2" charset="0"/>
              <a:ea typeface="+mn-ea"/>
              <a:cs typeface="+mn-cs"/>
            </a:endParaRPr>
          </a:p>
          <a:p>
            <a:pPr marL="0" marR="0" lvl="0" indent="0" algn="ctr" defTabSz="914377" rtl="0" eaLnBrk="1" fontAlgn="auto" latinLnBrk="0" hangingPunct="1">
              <a:lnSpc>
                <a:spcPct val="120000"/>
              </a:lnSpc>
              <a:spcBef>
                <a:spcPts val="1200"/>
              </a:spcBef>
              <a:spcAft>
                <a:spcPts val="0"/>
              </a:spcAft>
              <a:buClrTx/>
              <a:buSzPct val="120000"/>
              <a:buFont typeface="Arial" panose="020B0604020202020204" pitchFamily="34" charset="0"/>
              <a:buNone/>
              <a:tabLst/>
              <a:defRPr/>
            </a:pPr>
            <a:endParaRPr kumimoji="0" lang="en-US" sz="2667" b="0" i="0" u="none" strike="noStrike" kern="1200" cap="none" spc="0" normalizeH="0" baseline="0" noProof="0">
              <a:ln>
                <a:noFill/>
              </a:ln>
              <a:solidFill>
                <a:srgbClr val="53565A"/>
              </a:solidFill>
              <a:effectLst/>
              <a:uLnTx/>
              <a:uFillTx/>
              <a:latin typeface="BentonSansCond Bold" panose="02000806050000020004" pitchFamily="2" charset="0"/>
              <a:ea typeface="+mn-ea"/>
              <a:cs typeface="+mn-cs"/>
            </a:endParaRPr>
          </a:p>
        </p:txBody>
      </p:sp>
    </p:spTree>
    <p:extLst>
      <p:ext uri="{BB962C8B-B14F-4D97-AF65-F5344CB8AC3E}">
        <p14:creationId xmlns:p14="http://schemas.microsoft.com/office/powerpoint/2010/main" val="4283008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2F33846-F5F7-1379-FC42-48D7E6EB949F}"/>
              </a:ext>
            </a:extLst>
          </p:cNvPr>
          <p:cNvSpPr>
            <a:spLocks noGrp="1"/>
          </p:cNvSpPr>
          <p:nvPr>
            <p:ph type="title"/>
          </p:nvPr>
        </p:nvSpPr>
        <p:spPr/>
        <p:txBody>
          <a:bodyPr/>
          <a:lstStyle/>
          <a:p>
            <a:r>
              <a:rPr lang="en-US">
                <a:latin typeface="BentonSans Light" panose="02000503000000020004" pitchFamily="2" charset="0"/>
              </a:rPr>
              <a:t>Summary</a:t>
            </a:r>
          </a:p>
        </p:txBody>
      </p:sp>
      <p:sp>
        <p:nvSpPr>
          <p:cNvPr id="4" name="TextBox 3">
            <a:extLst>
              <a:ext uri="{FF2B5EF4-FFF2-40B4-BE49-F238E27FC236}">
                <a16:creationId xmlns:a16="http://schemas.microsoft.com/office/drawing/2014/main" id="{993F460F-F24D-1252-1B82-C93E3DEB279E}"/>
              </a:ext>
            </a:extLst>
          </p:cNvPr>
          <p:cNvSpPr txBox="1"/>
          <p:nvPr/>
        </p:nvSpPr>
        <p:spPr>
          <a:xfrm>
            <a:off x="609600" y="1493520"/>
            <a:ext cx="8148917" cy="3607397"/>
          </a:xfrm>
          <a:prstGeom prst="rect">
            <a:avLst/>
          </a:prstGeom>
          <a:noFill/>
        </p:spPr>
        <p:txBody>
          <a:bodyPr wrap="square" lIns="0" tIns="0" rIns="0" bIns="0" rtlCol="0">
            <a:noAutofit/>
          </a:bodyPr>
          <a:lstStyle/>
          <a:p>
            <a:pPr marL="342900" marR="0" lvl="0" indent="-342900" algn="l" defTabSz="914377" rtl="0" eaLnBrk="1" fontAlgn="auto" latinLnBrk="0" hangingPunct="1">
              <a:lnSpc>
                <a:spcPct val="120000"/>
              </a:lnSpc>
              <a:spcBef>
                <a:spcPts val="1200"/>
              </a:spcBef>
              <a:spcAft>
                <a:spcPts val="0"/>
              </a:spcAft>
              <a:buClrTx/>
              <a:buSzPct val="120000"/>
              <a:buFont typeface="Arial" panose="020B0604020202020204" pitchFamily="34" charset="0"/>
              <a:buChar char="•"/>
              <a:tabLst/>
              <a:defRPr/>
            </a:pPr>
            <a:r>
              <a:rPr kumimoji="0" lang="en-US" sz="2133" b="0" i="0" u="none" strike="noStrike" kern="1200" cap="none" spc="0" normalizeH="0" baseline="0" noProof="0">
                <a:ln>
                  <a:noFill/>
                </a:ln>
                <a:solidFill>
                  <a:srgbClr val="53565A"/>
                </a:solidFill>
                <a:effectLst/>
                <a:uLnTx/>
                <a:uFillTx/>
                <a:latin typeface="BentonSans Light" panose="02000503000000020004" pitchFamily="2" charset="0"/>
                <a:ea typeface="+mn-ea"/>
                <a:cs typeface="+mn-cs"/>
              </a:rPr>
              <a:t>You must manage your career – be intentional</a:t>
            </a:r>
          </a:p>
          <a:p>
            <a:pPr marL="342900" marR="0" lvl="0" indent="-342900" algn="l" defTabSz="914377" rtl="0" eaLnBrk="1" fontAlgn="auto" latinLnBrk="0" hangingPunct="1">
              <a:lnSpc>
                <a:spcPct val="120000"/>
              </a:lnSpc>
              <a:spcBef>
                <a:spcPts val="1200"/>
              </a:spcBef>
              <a:spcAft>
                <a:spcPts val="0"/>
              </a:spcAft>
              <a:buClrTx/>
              <a:buSzPct val="120000"/>
              <a:buFont typeface="Arial" panose="020B0604020202020204" pitchFamily="34" charset="0"/>
              <a:buChar char="•"/>
              <a:tabLst/>
              <a:defRPr/>
            </a:pPr>
            <a:r>
              <a:rPr kumimoji="0" lang="en-US" sz="2133" b="0" i="0" u="none" strike="noStrike" kern="1200" cap="none" spc="0" normalizeH="0" baseline="0" noProof="0">
                <a:ln>
                  <a:noFill/>
                </a:ln>
                <a:solidFill>
                  <a:srgbClr val="53565A"/>
                </a:solidFill>
                <a:effectLst/>
                <a:uLnTx/>
                <a:uFillTx/>
                <a:latin typeface="BentonSans Light" panose="02000503000000020004" pitchFamily="2" charset="0"/>
                <a:ea typeface="+mn-ea"/>
                <a:cs typeface="+mn-cs"/>
              </a:rPr>
              <a:t>Know yourself</a:t>
            </a:r>
          </a:p>
          <a:p>
            <a:pPr marL="342900" marR="0" lvl="0" indent="-342900" algn="l" defTabSz="914377" rtl="0" eaLnBrk="1" fontAlgn="auto" latinLnBrk="0" hangingPunct="1">
              <a:lnSpc>
                <a:spcPct val="120000"/>
              </a:lnSpc>
              <a:spcBef>
                <a:spcPts val="1200"/>
              </a:spcBef>
              <a:spcAft>
                <a:spcPts val="0"/>
              </a:spcAft>
              <a:buClrTx/>
              <a:buSzPct val="120000"/>
              <a:buFont typeface="Arial" panose="020B0604020202020204" pitchFamily="34" charset="0"/>
              <a:buChar char="•"/>
              <a:tabLst/>
              <a:defRPr/>
            </a:pPr>
            <a:r>
              <a:rPr kumimoji="0" lang="en-US" sz="2133" b="0" i="0" u="none" strike="noStrike" kern="1200" cap="none" spc="0" normalizeH="0" baseline="0" noProof="0">
                <a:ln>
                  <a:noFill/>
                </a:ln>
                <a:solidFill>
                  <a:srgbClr val="53565A"/>
                </a:solidFill>
                <a:effectLst/>
                <a:uLnTx/>
                <a:uFillTx/>
                <a:latin typeface="BentonSans Light" panose="02000503000000020004" pitchFamily="2" charset="0"/>
                <a:ea typeface="+mn-ea"/>
                <a:cs typeface="+mn-cs"/>
              </a:rPr>
              <a:t>Take risks</a:t>
            </a:r>
          </a:p>
          <a:p>
            <a:pPr marL="342900" marR="0" lvl="0" indent="-342900" algn="l" defTabSz="914377" rtl="0" eaLnBrk="1" fontAlgn="auto" latinLnBrk="0" hangingPunct="1">
              <a:lnSpc>
                <a:spcPct val="120000"/>
              </a:lnSpc>
              <a:spcBef>
                <a:spcPts val="1200"/>
              </a:spcBef>
              <a:spcAft>
                <a:spcPts val="0"/>
              </a:spcAft>
              <a:buClrTx/>
              <a:buSzPct val="120000"/>
              <a:buFont typeface="Arial" panose="020B0604020202020204" pitchFamily="34" charset="0"/>
              <a:buChar char="•"/>
              <a:tabLst/>
              <a:defRPr/>
            </a:pPr>
            <a:r>
              <a:rPr kumimoji="0" lang="en-US" sz="2133" b="0" i="0" u="none" strike="noStrike" kern="1200" cap="none" spc="0" normalizeH="0" baseline="0" noProof="0">
                <a:ln>
                  <a:noFill/>
                </a:ln>
                <a:solidFill>
                  <a:srgbClr val="53565A"/>
                </a:solidFill>
                <a:effectLst/>
                <a:uLnTx/>
                <a:uFillTx/>
                <a:latin typeface="BentonSans Light" panose="02000503000000020004" pitchFamily="2" charset="0"/>
                <a:ea typeface="+mn-ea"/>
                <a:cs typeface="+mn-cs"/>
              </a:rPr>
              <a:t>Be intellectual curious and keep growing</a:t>
            </a:r>
          </a:p>
          <a:p>
            <a:pPr marL="342900" marR="0" lvl="0" indent="-342900" algn="l" defTabSz="914377" rtl="0" eaLnBrk="1" fontAlgn="auto" latinLnBrk="0" hangingPunct="1">
              <a:lnSpc>
                <a:spcPct val="120000"/>
              </a:lnSpc>
              <a:spcBef>
                <a:spcPts val="1200"/>
              </a:spcBef>
              <a:spcAft>
                <a:spcPts val="0"/>
              </a:spcAft>
              <a:buClrTx/>
              <a:buSzPct val="120000"/>
              <a:buFont typeface="Arial" panose="020B0604020202020204" pitchFamily="34" charset="0"/>
              <a:buChar char="•"/>
              <a:tabLst/>
              <a:defRPr/>
            </a:pPr>
            <a:r>
              <a:rPr kumimoji="0" lang="en-US" sz="2133" b="0" i="0" u="none" strike="noStrike" kern="1200" cap="none" spc="0" normalizeH="0" baseline="0" noProof="0">
                <a:ln>
                  <a:noFill/>
                </a:ln>
                <a:solidFill>
                  <a:srgbClr val="53565A"/>
                </a:solidFill>
                <a:effectLst/>
                <a:uLnTx/>
                <a:uFillTx/>
                <a:latin typeface="BentonSans Light" panose="02000503000000020004" pitchFamily="2" charset="0"/>
                <a:ea typeface="+mn-ea"/>
                <a:cs typeface="+mn-cs"/>
              </a:rPr>
              <a:t>Build relationships</a:t>
            </a:r>
          </a:p>
          <a:p>
            <a:pPr marL="342900" marR="0" lvl="0" indent="-342900" algn="l" defTabSz="914377" rtl="0" eaLnBrk="1" fontAlgn="auto" latinLnBrk="0" hangingPunct="1">
              <a:lnSpc>
                <a:spcPct val="120000"/>
              </a:lnSpc>
              <a:spcBef>
                <a:spcPts val="1200"/>
              </a:spcBef>
              <a:spcAft>
                <a:spcPts val="0"/>
              </a:spcAft>
              <a:buClrTx/>
              <a:buSzPct val="120000"/>
              <a:buFont typeface="Arial" panose="020B0604020202020204" pitchFamily="34" charset="0"/>
              <a:buChar char="•"/>
              <a:tabLst/>
              <a:defRPr/>
            </a:pPr>
            <a:r>
              <a:rPr kumimoji="0" lang="en-US" sz="2133" b="0" i="0" u="none" strike="noStrike" kern="1200" cap="none" spc="0" normalizeH="0" baseline="0" noProof="0">
                <a:ln>
                  <a:noFill/>
                </a:ln>
                <a:solidFill>
                  <a:srgbClr val="53565A"/>
                </a:solidFill>
                <a:effectLst/>
                <a:uLnTx/>
                <a:uFillTx/>
                <a:latin typeface="BentonSans Light" panose="02000503000000020004" pitchFamily="2" charset="0"/>
                <a:ea typeface="+mn-ea"/>
                <a:cs typeface="+mn-cs"/>
              </a:rPr>
              <a:t>Be persistent – there will be setbacks</a:t>
            </a:r>
          </a:p>
          <a:p>
            <a:pPr marL="285750" marR="0" lvl="0" indent="-285750" algn="l" defTabSz="914377" rtl="0" eaLnBrk="1" fontAlgn="auto" latinLnBrk="0" hangingPunct="1">
              <a:lnSpc>
                <a:spcPct val="120000"/>
              </a:lnSpc>
              <a:spcBef>
                <a:spcPts val="1200"/>
              </a:spcBef>
              <a:spcAft>
                <a:spcPts val="0"/>
              </a:spcAft>
              <a:buClrTx/>
              <a:buSzPct val="120000"/>
              <a:buFont typeface="Arial" panose="020B0604020202020204" pitchFamily="34" charset="0"/>
              <a:buChar char="•"/>
              <a:tabLst/>
              <a:defRPr/>
            </a:pPr>
            <a:endParaRPr kumimoji="0" lang="en-US" sz="1600" b="0" i="0" u="none" strike="noStrike" kern="1200" cap="none" spc="0" normalizeH="0" baseline="0" noProof="0">
              <a:ln>
                <a:noFill/>
              </a:ln>
              <a:solidFill>
                <a:srgbClr val="53565A"/>
              </a:solidFill>
              <a:effectLst/>
              <a:uLnTx/>
              <a:uFillTx/>
              <a:latin typeface="BentonSans Light" panose="02000503000000020004" pitchFamily="2" charset="0"/>
              <a:ea typeface="+mn-ea"/>
              <a:cs typeface="+mn-cs"/>
            </a:endParaRPr>
          </a:p>
        </p:txBody>
      </p:sp>
    </p:spTree>
    <p:extLst>
      <p:ext uri="{BB962C8B-B14F-4D97-AF65-F5344CB8AC3E}">
        <p14:creationId xmlns:p14="http://schemas.microsoft.com/office/powerpoint/2010/main" val="488683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a:blip r:embed="rId2"/>
          <a:stretch>
            <a:fillRect/>
          </a:stretch>
        </p:blipFill>
        <p:spPr>
          <a:xfrm>
            <a:off x="0" y="0"/>
            <a:ext cx="4450342" cy="6858000"/>
          </a:xfrm>
          <a:prstGeom prst="rect">
            <a:avLst/>
          </a:prstGeom>
        </p:spPr>
      </p:pic>
      <p:pic>
        <p:nvPicPr>
          <p:cNvPr id="9" name="Picture 8">
            <a:extLst>
              <a:ext uri="{FF2B5EF4-FFF2-40B4-BE49-F238E27FC236}">
                <a16:creationId xmlns:a16="http://schemas.microsoft.com/office/drawing/2014/main" id="{FA9091A2-390C-9288-0AFB-BB2FDE753833}"/>
              </a:ext>
            </a:extLst>
          </p:cNvPr>
          <p:cNvPicPr>
            <a:picLocks noChangeAspect="1"/>
          </p:cNvPicPr>
          <p:nvPr/>
        </p:nvPicPr>
        <p:blipFill>
          <a:blip r:embed="rId3"/>
          <a:stretch>
            <a:fillRect/>
          </a:stretch>
        </p:blipFill>
        <p:spPr>
          <a:xfrm>
            <a:off x="10998805" y="5506945"/>
            <a:ext cx="933765" cy="1102925"/>
          </a:xfrm>
          <a:prstGeom prst="rect">
            <a:avLst/>
          </a:prstGeom>
        </p:spPr>
      </p:pic>
      <p:grpSp>
        <p:nvGrpSpPr>
          <p:cNvPr id="10" name="Group 9">
            <a:extLst>
              <a:ext uri="{FF2B5EF4-FFF2-40B4-BE49-F238E27FC236}">
                <a16:creationId xmlns:a16="http://schemas.microsoft.com/office/drawing/2014/main" id="{E85932A0-52EA-CA78-059C-64B772A0D0D0}"/>
              </a:ext>
            </a:extLst>
          </p:cNvPr>
          <p:cNvGrpSpPr/>
          <p:nvPr/>
        </p:nvGrpSpPr>
        <p:grpSpPr>
          <a:xfrm>
            <a:off x="5830140" y="1137525"/>
            <a:ext cx="5083666" cy="2612903"/>
            <a:chOff x="5830140" y="1130347"/>
            <a:chExt cx="5083666" cy="2612903"/>
          </a:xfrm>
        </p:grpSpPr>
        <p:sp>
          <p:nvSpPr>
            <p:cNvPr id="6" name="TextBox 5">
              <a:extLst>
                <a:ext uri="{FF2B5EF4-FFF2-40B4-BE49-F238E27FC236}">
                  <a16:creationId xmlns:a16="http://schemas.microsoft.com/office/drawing/2014/main" id="{3DF89D8B-DCA4-3F76-6E5B-FD1B002BDA17}"/>
                </a:ext>
              </a:extLst>
            </p:cNvPr>
            <p:cNvSpPr txBox="1"/>
            <p:nvPr/>
          </p:nvSpPr>
          <p:spPr>
            <a:xfrm>
              <a:off x="5830140" y="1130347"/>
              <a:ext cx="5083666" cy="36933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0" i="0" u="none" strike="noStrike" kern="1200" cap="none" spc="300" normalizeH="0" baseline="0" noProof="0">
                  <a:ln>
                    <a:noFill/>
                  </a:ln>
                  <a:solidFill>
                    <a:srgbClr val="69AAE3"/>
                  </a:solidFill>
                  <a:effectLst/>
                  <a:uLnTx/>
                  <a:uFillTx/>
                  <a:latin typeface="BentonSans Medium" panose="02000603000000020004" pitchFamily="2" charset="0"/>
                  <a:ea typeface="+mn-ea"/>
                  <a:cs typeface="+mn-cs"/>
                </a:rPr>
                <a:t>EXEC BEN UNPLUGGED</a:t>
              </a:r>
            </a:p>
          </p:txBody>
        </p:sp>
        <p:sp>
          <p:nvSpPr>
            <p:cNvPr id="7" name="TextBox 6">
              <a:extLst>
                <a:ext uri="{FF2B5EF4-FFF2-40B4-BE49-F238E27FC236}">
                  <a16:creationId xmlns:a16="http://schemas.microsoft.com/office/drawing/2014/main" id="{E908AC03-8CCE-CA04-4404-13D317BA498F}"/>
                </a:ext>
              </a:extLst>
            </p:cNvPr>
            <p:cNvSpPr txBox="1"/>
            <p:nvPr/>
          </p:nvSpPr>
          <p:spPr>
            <a:xfrm>
              <a:off x="5830140" y="2512144"/>
              <a:ext cx="4869815" cy="123110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000" b="0" i="0" u="none" strike="noStrike" kern="1200" cap="none" spc="0" normalizeH="0" baseline="0" noProof="0">
                  <a:ln>
                    <a:noFill/>
                  </a:ln>
                  <a:solidFill>
                    <a:srgbClr val="FFFFFF"/>
                  </a:solidFill>
                  <a:effectLst/>
                  <a:uLnTx/>
                  <a:uFillTx/>
                  <a:latin typeface="BentonSans Light"/>
                  <a:ea typeface="+mn-ea"/>
                  <a:cs typeface="+mn-cs"/>
                </a:rPr>
                <a:t>Q&amp;A</a:t>
              </a:r>
            </a:p>
          </p:txBody>
        </p:sp>
      </p:grpSp>
    </p:spTree>
    <p:extLst>
      <p:ext uri="{BB962C8B-B14F-4D97-AF65-F5344CB8AC3E}">
        <p14:creationId xmlns:p14="http://schemas.microsoft.com/office/powerpoint/2010/main" val="1699402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a:blip r:embed="rId2"/>
          <a:stretch>
            <a:fillRect/>
          </a:stretch>
        </p:blipFill>
        <p:spPr>
          <a:xfrm>
            <a:off x="0" y="0"/>
            <a:ext cx="4450342" cy="6858000"/>
          </a:xfrm>
          <a:prstGeom prst="rect">
            <a:avLst/>
          </a:prstGeom>
        </p:spPr>
      </p:pic>
      <p:pic>
        <p:nvPicPr>
          <p:cNvPr id="9" name="Picture 8">
            <a:extLst>
              <a:ext uri="{FF2B5EF4-FFF2-40B4-BE49-F238E27FC236}">
                <a16:creationId xmlns:a16="http://schemas.microsoft.com/office/drawing/2014/main" id="{FA9091A2-390C-9288-0AFB-BB2FDE753833}"/>
              </a:ext>
            </a:extLst>
          </p:cNvPr>
          <p:cNvPicPr>
            <a:picLocks noChangeAspect="1"/>
          </p:cNvPicPr>
          <p:nvPr/>
        </p:nvPicPr>
        <p:blipFill>
          <a:blip r:embed="rId3"/>
          <a:stretch>
            <a:fillRect/>
          </a:stretch>
        </p:blipFill>
        <p:spPr>
          <a:xfrm>
            <a:off x="10998805" y="5506945"/>
            <a:ext cx="933765" cy="1102925"/>
          </a:xfrm>
          <a:prstGeom prst="rect">
            <a:avLst/>
          </a:prstGeom>
        </p:spPr>
      </p:pic>
      <p:grpSp>
        <p:nvGrpSpPr>
          <p:cNvPr id="10" name="Group 9">
            <a:extLst>
              <a:ext uri="{FF2B5EF4-FFF2-40B4-BE49-F238E27FC236}">
                <a16:creationId xmlns:a16="http://schemas.microsoft.com/office/drawing/2014/main" id="{E85932A0-52EA-CA78-059C-64B772A0D0D0}"/>
              </a:ext>
            </a:extLst>
          </p:cNvPr>
          <p:cNvGrpSpPr/>
          <p:nvPr/>
        </p:nvGrpSpPr>
        <p:grpSpPr>
          <a:xfrm>
            <a:off x="5830139" y="1137525"/>
            <a:ext cx="5083667" cy="4859949"/>
            <a:chOff x="5830139" y="1130347"/>
            <a:chExt cx="5083667" cy="4859949"/>
          </a:xfrm>
        </p:grpSpPr>
        <p:sp>
          <p:nvSpPr>
            <p:cNvPr id="6" name="TextBox 5">
              <a:extLst>
                <a:ext uri="{FF2B5EF4-FFF2-40B4-BE49-F238E27FC236}">
                  <a16:creationId xmlns:a16="http://schemas.microsoft.com/office/drawing/2014/main" id="{3DF89D8B-DCA4-3F76-6E5B-FD1B002BDA17}"/>
                </a:ext>
              </a:extLst>
            </p:cNvPr>
            <p:cNvSpPr txBox="1"/>
            <p:nvPr/>
          </p:nvSpPr>
          <p:spPr>
            <a:xfrm>
              <a:off x="5830140" y="1130347"/>
              <a:ext cx="5083666" cy="36933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0" i="0" u="none" strike="noStrike" kern="1200" cap="none" spc="300" normalizeH="0" baseline="0" noProof="0">
                  <a:ln>
                    <a:noFill/>
                  </a:ln>
                  <a:solidFill>
                    <a:srgbClr val="69AAE3"/>
                  </a:solidFill>
                  <a:effectLst/>
                  <a:uLnTx/>
                  <a:uFillTx/>
                  <a:latin typeface="BentonSans Medium" panose="02000603000000020004" pitchFamily="2" charset="0"/>
                  <a:ea typeface="+mn-ea"/>
                  <a:cs typeface="+mn-cs"/>
                </a:rPr>
                <a:t>EXEC BEN UNPLUGGED</a:t>
              </a:r>
            </a:p>
          </p:txBody>
        </p:sp>
        <p:sp>
          <p:nvSpPr>
            <p:cNvPr id="7" name="TextBox 6">
              <a:extLst>
                <a:ext uri="{FF2B5EF4-FFF2-40B4-BE49-F238E27FC236}">
                  <a16:creationId xmlns:a16="http://schemas.microsoft.com/office/drawing/2014/main" id="{E908AC03-8CCE-CA04-4404-13D317BA498F}"/>
                </a:ext>
              </a:extLst>
            </p:cNvPr>
            <p:cNvSpPr txBox="1"/>
            <p:nvPr/>
          </p:nvSpPr>
          <p:spPr>
            <a:xfrm>
              <a:off x="5830139" y="1684830"/>
              <a:ext cx="4869815" cy="221599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4800" b="0" i="0" u="none" strike="noStrike" kern="1200" cap="none" spc="0" normalizeH="0" baseline="0" noProof="0">
                  <a:ln>
                    <a:noFill/>
                  </a:ln>
                  <a:solidFill>
                    <a:srgbClr val="FFFFFF"/>
                  </a:solidFill>
                  <a:effectLst/>
                  <a:uLnTx/>
                  <a:uFillTx/>
                  <a:latin typeface="BentonSans Light"/>
                  <a:ea typeface="+mn-ea"/>
                  <a:cs typeface="+mn-cs"/>
                </a:rPr>
                <a:t>NEW TO BLUE AND JUST </a:t>
              </a:r>
              <a:br>
                <a:rPr kumimoji="0" lang="en-US" sz="4800" b="0" i="0" u="none" strike="noStrike" kern="1200" cap="none" spc="0" normalizeH="0" baseline="0" noProof="0">
                  <a:ln>
                    <a:noFill/>
                  </a:ln>
                  <a:solidFill>
                    <a:srgbClr val="FFFFFF"/>
                  </a:solidFill>
                  <a:effectLst/>
                  <a:uLnTx/>
                  <a:uFillTx/>
                  <a:latin typeface="BentonSans Light"/>
                  <a:ea typeface="+mn-ea"/>
                  <a:cs typeface="+mn-cs"/>
                </a:rPr>
              </a:br>
              <a:r>
                <a:rPr kumimoji="0" lang="en-US" sz="4800" b="0" i="0" u="none" strike="noStrike" kern="1200" cap="none" spc="0" normalizeH="0" baseline="0" noProof="0">
                  <a:ln>
                    <a:noFill/>
                  </a:ln>
                  <a:solidFill>
                    <a:srgbClr val="FFFFFF"/>
                  </a:solidFill>
                  <a:effectLst/>
                  <a:uLnTx/>
                  <a:uFillTx/>
                  <a:latin typeface="BentonSans Light"/>
                  <a:ea typeface="+mn-ea"/>
                  <a:cs typeface="+mn-cs"/>
                </a:rPr>
                <a:t>BEING NEW</a:t>
              </a:r>
            </a:p>
          </p:txBody>
        </p:sp>
        <p:cxnSp>
          <p:nvCxnSpPr>
            <p:cNvPr id="8" name="Straight Connector 7">
              <a:extLst>
                <a:ext uri="{FF2B5EF4-FFF2-40B4-BE49-F238E27FC236}">
                  <a16:creationId xmlns:a16="http://schemas.microsoft.com/office/drawing/2014/main" id="{F49481BD-283D-D5D6-92CD-48A75977AB1D}"/>
                </a:ext>
              </a:extLst>
            </p:cNvPr>
            <p:cNvCxnSpPr/>
            <p:nvPr/>
          </p:nvCxnSpPr>
          <p:spPr>
            <a:xfrm>
              <a:off x="5830140" y="4306922"/>
              <a:ext cx="1981201"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AECC028-0832-59C2-C9D5-F94A7464381F}"/>
                </a:ext>
              </a:extLst>
            </p:cNvPr>
            <p:cNvSpPr txBox="1"/>
            <p:nvPr/>
          </p:nvSpPr>
          <p:spPr>
            <a:xfrm>
              <a:off x="5830139" y="4713023"/>
              <a:ext cx="4450342" cy="127727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0" i="0" u="none" strike="noStrike" kern="1200" cap="none" spc="300" normalizeH="0" baseline="0" noProof="0">
                  <a:ln>
                    <a:noFill/>
                  </a:ln>
                  <a:solidFill>
                    <a:srgbClr val="FFFFFF"/>
                  </a:solidFill>
                  <a:effectLst/>
                  <a:uLnTx/>
                  <a:uFillTx/>
                  <a:latin typeface="BentonSans Medium" panose="02000603000000020004" pitchFamily="2" charset="0"/>
                  <a:ea typeface="+mn-ea"/>
                  <a:cs typeface="+mn-cs"/>
                </a:rPr>
                <a:t>JAMAL EPP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BentonSans Light"/>
                  <a:ea typeface="+mn-ea"/>
                  <a:cs typeface="+mn-cs"/>
                </a:rPr>
                <a:t>Executive Vice President, </a:t>
              </a:r>
              <a:br>
                <a:rPr kumimoji="0" lang="en-US" sz="1800" b="0" i="0" u="none" strike="noStrike" kern="1200" cap="none" spc="0" normalizeH="0" baseline="0" noProof="0">
                  <a:ln>
                    <a:noFill/>
                  </a:ln>
                  <a:solidFill>
                    <a:srgbClr val="FFFFFF"/>
                  </a:solidFill>
                  <a:effectLst/>
                  <a:uLnTx/>
                  <a:uFillTx/>
                  <a:latin typeface="BentonSans Light"/>
                  <a:ea typeface="+mn-ea"/>
                  <a:cs typeface="+mn-cs"/>
                </a:rPr>
              </a:br>
              <a:r>
                <a:rPr kumimoji="0" lang="en-US" sz="1800" b="0" i="0" u="none" strike="noStrike" kern="1200" cap="none" spc="0" normalizeH="0" baseline="0" noProof="0">
                  <a:ln>
                    <a:noFill/>
                  </a:ln>
                  <a:solidFill>
                    <a:srgbClr val="FFFFFF"/>
                  </a:solidFill>
                  <a:effectLst/>
                  <a:uLnTx/>
                  <a:uFillTx/>
                  <a:latin typeface="BentonSans Light"/>
                  <a:ea typeface="+mn-ea"/>
                  <a:cs typeface="+mn-cs"/>
                </a:rPr>
                <a:t>Chief Financial Officer, </a:t>
              </a:r>
              <a:br>
                <a:rPr kumimoji="0" lang="en-US" sz="1800" b="0" i="0" u="none" strike="noStrike" kern="1200" cap="none" spc="0" normalizeH="0" baseline="0" noProof="0">
                  <a:ln>
                    <a:noFill/>
                  </a:ln>
                  <a:solidFill>
                    <a:srgbClr val="FFFFFF"/>
                  </a:solidFill>
                  <a:effectLst/>
                  <a:uLnTx/>
                  <a:uFillTx/>
                  <a:latin typeface="BentonSans Light"/>
                  <a:ea typeface="+mn-ea"/>
                  <a:cs typeface="+mn-cs"/>
                </a:rPr>
              </a:br>
              <a:r>
                <a:rPr kumimoji="0" lang="en-US" sz="1800" b="0" i="0" u="none" strike="noStrike" kern="1200" cap="none" spc="0" normalizeH="0" baseline="0" noProof="0">
                  <a:ln>
                    <a:noFill/>
                  </a:ln>
                  <a:solidFill>
                    <a:srgbClr val="FFFFFF"/>
                  </a:solidFill>
                  <a:effectLst/>
                  <a:uLnTx/>
                  <a:uFillTx/>
                  <a:latin typeface="BentonSans Light"/>
                  <a:ea typeface="+mn-ea"/>
                  <a:cs typeface="+mn-cs"/>
                </a:rPr>
                <a:t>Global Consumer Services</a:t>
              </a:r>
            </a:p>
          </p:txBody>
        </p:sp>
      </p:grpSp>
    </p:spTree>
    <p:extLst>
      <p:ext uri="{BB962C8B-B14F-4D97-AF65-F5344CB8AC3E}">
        <p14:creationId xmlns:p14="http://schemas.microsoft.com/office/powerpoint/2010/main" val="201445884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a:blip r:embed="rId2"/>
          <a:stretch>
            <a:fillRect/>
          </a:stretch>
        </p:blipFill>
        <p:spPr>
          <a:xfrm>
            <a:off x="0" y="0"/>
            <a:ext cx="4450342" cy="6858000"/>
          </a:xfrm>
          <a:prstGeom prst="rect">
            <a:avLst/>
          </a:prstGeom>
        </p:spPr>
      </p:pic>
      <p:pic>
        <p:nvPicPr>
          <p:cNvPr id="9" name="Picture 8">
            <a:extLst>
              <a:ext uri="{FF2B5EF4-FFF2-40B4-BE49-F238E27FC236}">
                <a16:creationId xmlns:a16="http://schemas.microsoft.com/office/drawing/2014/main" id="{FA9091A2-390C-9288-0AFB-BB2FDE753833}"/>
              </a:ext>
            </a:extLst>
          </p:cNvPr>
          <p:cNvPicPr>
            <a:picLocks noChangeAspect="1"/>
          </p:cNvPicPr>
          <p:nvPr/>
        </p:nvPicPr>
        <p:blipFill>
          <a:blip r:embed="rId3"/>
          <a:stretch>
            <a:fillRect/>
          </a:stretch>
        </p:blipFill>
        <p:spPr>
          <a:xfrm>
            <a:off x="10998805" y="5506945"/>
            <a:ext cx="933765" cy="1102925"/>
          </a:xfrm>
          <a:prstGeom prst="rect">
            <a:avLst/>
          </a:prstGeom>
        </p:spPr>
      </p:pic>
      <p:grpSp>
        <p:nvGrpSpPr>
          <p:cNvPr id="10" name="Group 9">
            <a:extLst>
              <a:ext uri="{FF2B5EF4-FFF2-40B4-BE49-F238E27FC236}">
                <a16:creationId xmlns:a16="http://schemas.microsoft.com/office/drawing/2014/main" id="{E85932A0-52EA-CA78-059C-64B772A0D0D0}"/>
              </a:ext>
            </a:extLst>
          </p:cNvPr>
          <p:cNvGrpSpPr/>
          <p:nvPr/>
        </p:nvGrpSpPr>
        <p:grpSpPr>
          <a:xfrm>
            <a:off x="5830140" y="1137525"/>
            <a:ext cx="5083666" cy="2612903"/>
            <a:chOff x="5830140" y="1130347"/>
            <a:chExt cx="5083666" cy="2612903"/>
          </a:xfrm>
        </p:grpSpPr>
        <p:sp>
          <p:nvSpPr>
            <p:cNvPr id="6" name="TextBox 5">
              <a:extLst>
                <a:ext uri="{FF2B5EF4-FFF2-40B4-BE49-F238E27FC236}">
                  <a16:creationId xmlns:a16="http://schemas.microsoft.com/office/drawing/2014/main" id="{3DF89D8B-DCA4-3F76-6E5B-FD1B002BDA17}"/>
                </a:ext>
              </a:extLst>
            </p:cNvPr>
            <p:cNvSpPr txBox="1"/>
            <p:nvPr/>
          </p:nvSpPr>
          <p:spPr>
            <a:xfrm>
              <a:off x="5830140" y="1130347"/>
              <a:ext cx="5083666" cy="36933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0" i="0" u="none" strike="noStrike" kern="1200" cap="none" spc="300" normalizeH="0" baseline="0" noProof="0">
                  <a:ln>
                    <a:noFill/>
                  </a:ln>
                  <a:solidFill>
                    <a:srgbClr val="69AAE3"/>
                  </a:solidFill>
                  <a:effectLst/>
                  <a:uLnTx/>
                  <a:uFillTx/>
                  <a:latin typeface="BentonSans Medium" panose="02000603000000020004" pitchFamily="2" charset="0"/>
                  <a:ea typeface="+mn-ea"/>
                  <a:cs typeface="+mn-cs"/>
                </a:rPr>
                <a:t>EXEC BEN UNPLUGGED</a:t>
              </a:r>
            </a:p>
          </p:txBody>
        </p:sp>
        <p:sp>
          <p:nvSpPr>
            <p:cNvPr id="7" name="TextBox 6">
              <a:extLst>
                <a:ext uri="{FF2B5EF4-FFF2-40B4-BE49-F238E27FC236}">
                  <a16:creationId xmlns:a16="http://schemas.microsoft.com/office/drawing/2014/main" id="{E908AC03-8CCE-CA04-4404-13D317BA498F}"/>
                </a:ext>
              </a:extLst>
            </p:cNvPr>
            <p:cNvSpPr txBox="1"/>
            <p:nvPr/>
          </p:nvSpPr>
          <p:spPr>
            <a:xfrm>
              <a:off x="5830140" y="2512144"/>
              <a:ext cx="4869815" cy="123110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000" b="0" i="0" u="none" strike="noStrike" kern="1200" cap="none" spc="0" normalizeH="0" baseline="0" noProof="0">
                  <a:ln>
                    <a:noFill/>
                  </a:ln>
                  <a:solidFill>
                    <a:srgbClr val="FFFFFF"/>
                  </a:solidFill>
                  <a:effectLst/>
                  <a:uLnTx/>
                  <a:uFillTx/>
                  <a:latin typeface="BentonSans Light"/>
                  <a:ea typeface="+mn-ea"/>
                  <a:cs typeface="+mn-cs"/>
                </a:rPr>
                <a:t>Q&amp;A</a:t>
              </a:r>
            </a:p>
          </p:txBody>
        </p:sp>
      </p:grpSp>
    </p:spTree>
    <p:extLst>
      <p:ext uri="{BB962C8B-B14F-4D97-AF65-F5344CB8AC3E}">
        <p14:creationId xmlns:p14="http://schemas.microsoft.com/office/powerpoint/2010/main" val="27006566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a:blip r:embed="rId2"/>
          <a:stretch>
            <a:fillRect/>
          </a:stretch>
        </p:blipFill>
        <p:spPr>
          <a:xfrm>
            <a:off x="0" y="0"/>
            <a:ext cx="4450342" cy="6858000"/>
          </a:xfrm>
          <a:prstGeom prst="rect">
            <a:avLst/>
          </a:prstGeom>
        </p:spPr>
      </p:pic>
      <p:pic>
        <p:nvPicPr>
          <p:cNvPr id="9" name="Picture 8">
            <a:extLst>
              <a:ext uri="{FF2B5EF4-FFF2-40B4-BE49-F238E27FC236}">
                <a16:creationId xmlns:a16="http://schemas.microsoft.com/office/drawing/2014/main" id="{FA9091A2-390C-9288-0AFB-BB2FDE753833}"/>
              </a:ext>
            </a:extLst>
          </p:cNvPr>
          <p:cNvPicPr>
            <a:picLocks noChangeAspect="1"/>
          </p:cNvPicPr>
          <p:nvPr/>
        </p:nvPicPr>
        <p:blipFill>
          <a:blip r:embed="rId3"/>
          <a:stretch>
            <a:fillRect/>
          </a:stretch>
        </p:blipFill>
        <p:spPr>
          <a:xfrm>
            <a:off x="10998805" y="5506945"/>
            <a:ext cx="933765" cy="1102925"/>
          </a:xfrm>
          <a:prstGeom prst="rect">
            <a:avLst/>
          </a:prstGeom>
        </p:spPr>
      </p:pic>
      <p:grpSp>
        <p:nvGrpSpPr>
          <p:cNvPr id="10" name="Group 9">
            <a:extLst>
              <a:ext uri="{FF2B5EF4-FFF2-40B4-BE49-F238E27FC236}">
                <a16:creationId xmlns:a16="http://schemas.microsoft.com/office/drawing/2014/main" id="{E85932A0-52EA-CA78-059C-64B772A0D0D0}"/>
              </a:ext>
            </a:extLst>
          </p:cNvPr>
          <p:cNvGrpSpPr/>
          <p:nvPr/>
        </p:nvGrpSpPr>
        <p:grpSpPr>
          <a:xfrm>
            <a:off x="5830139" y="1137525"/>
            <a:ext cx="5083667" cy="4582950"/>
            <a:chOff x="5830139" y="1130347"/>
            <a:chExt cx="5083667" cy="4582950"/>
          </a:xfrm>
        </p:grpSpPr>
        <p:sp>
          <p:nvSpPr>
            <p:cNvPr id="6" name="TextBox 5">
              <a:extLst>
                <a:ext uri="{FF2B5EF4-FFF2-40B4-BE49-F238E27FC236}">
                  <a16:creationId xmlns:a16="http://schemas.microsoft.com/office/drawing/2014/main" id="{3DF89D8B-DCA4-3F76-6E5B-FD1B002BDA17}"/>
                </a:ext>
              </a:extLst>
            </p:cNvPr>
            <p:cNvSpPr txBox="1"/>
            <p:nvPr/>
          </p:nvSpPr>
          <p:spPr>
            <a:xfrm>
              <a:off x="5830140" y="1130347"/>
              <a:ext cx="5083666" cy="36933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0" i="0" u="none" strike="noStrike" kern="1200" cap="none" spc="300" normalizeH="0" baseline="0" noProof="0">
                  <a:ln>
                    <a:noFill/>
                  </a:ln>
                  <a:solidFill>
                    <a:srgbClr val="69AAE3"/>
                  </a:solidFill>
                  <a:effectLst/>
                  <a:uLnTx/>
                  <a:uFillTx/>
                  <a:latin typeface="BentonSans Medium" panose="02000603000000020004" pitchFamily="2" charset="0"/>
                  <a:ea typeface="+mn-ea"/>
                  <a:cs typeface="+mn-cs"/>
                </a:rPr>
                <a:t>EXEC BEN UNPLUGGED</a:t>
              </a:r>
            </a:p>
          </p:txBody>
        </p:sp>
        <p:sp>
          <p:nvSpPr>
            <p:cNvPr id="7" name="TextBox 6">
              <a:extLst>
                <a:ext uri="{FF2B5EF4-FFF2-40B4-BE49-F238E27FC236}">
                  <a16:creationId xmlns:a16="http://schemas.microsoft.com/office/drawing/2014/main" id="{E908AC03-8CCE-CA04-4404-13D317BA498F}"/>
                </a:ext>
              </a:extLst>
            </p:cNvPr>
            <p:cNvSpPr txBox="1"/>
            <p:nvPr/>
          </p:nvSpPr>
          <p:spPr>
            <a:xfrm>
              <a:off x="5830139" y="1684830"/>
              <a:ext cx="4869815" cy="221599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4800" b="0" i="0" u="none" strike="noStrike" kern="1200" cap="none" spc="0" normalizeH="0" baseline="0" noProof="0">
                  <a:ln>
                    <a:noFill/>
                  </a:ln>
                  <a:solidFill>
                    <a:srgbClr val="FFFFFF"/>
                  </a:solidFill>
                  <a:effectLst/>
                  <a:uLnTx/>
                  <a:uFillTx/>
                  <a:latin typeface="BentonSans Light"/>
                  <a:ea typeface="+mn-ea"/>
                  <a:cs typeface="+mn-cs"/>
                </a:rPr>
                <a:t>AUTHENTIC &amp; COURAGEOUS LEADERSHIP</a:t>
              </a:r>
            </a:p>
          </p:txBody>
        </p:sp>
        <p:cxnSp>
          <p:nvCxnSpPr>
            <p:cNvPr id="8" name="Straight Connector 7">
              <a:extLst>
                <a:ext uri="{FF2B5EF4-FFF2-40B4-BE49-F238E27FC236}">
                  <a16:creationId xmlns:a16="http://schemas.microsoft.com/office/drawing/2014/main" id="{F49481BD-283D-D5D6-92CD-48A75977AB1D}"/>
                </a:ext>
              </a:extLst>
            </p:cNvPr>
            <p:cNvCxnSpPr/>
            <p:nvPr/>
          </p:nvCxnSpPr>
          <p:spPr>
            <a:xfrm>
              <a:off x="5830140" y="4306922"/>
              <a:ext cx="1981201"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AECC028-0832-59C2-C9D5-F94A7464381F}"/>
                </a:ext>
              </a:extLst>
            </p:cNvPr>
            <p:cNvSpPr txBox="1"/>
            <p:nvPr/>
          </p:nvSpPr>
          <p:spPr>
            <a:xfrm>
              <a:off x="5830139" y="4713023"/>
              <a:ext cx="4450342" cy="100027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0" i="0" u="none" strike="noStrike" kern="1200" cap="none" spc="300" normalizeH="0" baseline="0" noProof="0">
                  <a:ln>
                    <a:noFill/>
                  </a:ln>
                  <a:solidFill>
                    <a:srgbClr val="FFFFFF"/>
                  </a:solidFill>
                  <a:effectLst/>
                  <a:uLnTx/>
                  <a:uFillTx/>
                  <a:latin typeface="BentonSans Medium" panose="02000603000000020004" pitchFamily="2" charset="0"/>
                  <a:ea typeface="+mn-ea"/>
                  <a:cs typeface="+mn-cs"/>
                </a:rPr>
                <a:t>SARAH DOBBS-BROW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BentonSans Light"/>
                  <a:ea typeface="+mn-ea"/>
                  <a:cs typeface="+mn-cs"/>
                </a:rPr>
                <a:t>Executive Vice President &amp; Deputy, General Counsel</a:t>
              </a:r>
            </a:p>
          </p:txBody>
        </p:sp>
      </p:grpSp>
    </p:spTree>
    <p:extLst>
      <p:ext uri="{BB962C8B-B14F-4D97-AF65-F5344CB8AC3E}">
        <p14:creationId xmlns:p14="http://schemas.microsoft.com/office/powerpoint/2010/main" val="32012802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rotWithShape="1">
          <a:blip r:embed="rId2"/>
          <a:srcRect l="486" r="39298"/>
          <a:stretch/>
        </p:blipFill>
        <p:spPr>
          <a:xfrm>
            <a:off x="9512187" y="0"/>
            <a:ext cx="2679813" cy="6858000"/>
          </a:xfrm>
          <a:prstGeom prst="rect">
            <a:avLst/>
          </a:prstGeom>
        </p:spPr>
      </p:pic>
      <p:pic>
        <p:nvPicPr>
          <p:cNvPr id="3" name="Picture 2">
            <a:extLst>
              <a:ext uri="{FF2B5EF4-FFF2-40B4-BE49-F238E27FC236}">
                <a16:creationId xmlns:a16="http://schemas.microsoft.com/office/drawing/2014/main" id="{E2E11E99-A81B-C638-28EE-0BC86E7BF2EF}"/>
              </a:ext>
            </a:extLst>
          </p:cNvPr>
          <p:cNvPicPr>
            <a:picLocks noChangeAspect="1"/>
          </p:cNvPicPr>
          <p:nvPr/>
        </p:nvPicPr>
        <p:blipFill rotWithShape="1">
          <a:blip r:embed="rId2"/>
          <a:srcRect l="29541" r="8954"/>
          <a:stretch/>
        </p:blipFill>
        <p:spPr>
          <a:xfrm>
            <a:off x="0" y="0"/>
            <a:ext cx="2737184" cy="6858000"/>
          </a:xfrm>
          <a:prstGeom prst="rect">
            <a:avLst/>
          </a:prstGeom>
        </p:spPr>
      </p:pic>
      <p:sp>
        <p:nvSpPr>
          <p:cNvPr id="10" name="TextBox 9">
            <a:extLst>
              <a:ext uri="{FF2B5EF4-FFF2-40B4-BE49-F238E27FC236}">
                <a16:creationId xmlns:a16="http://schemas.microsoft.com/office/drawing/2014/main" id="{7C123359-7C73-5C0C-3883-B003884F02E2}"/>
              </a:ext>
            </a:extLst>
          </p:cNvPr>
          <p:cNvSpPr txBox="1"/>
          <p:nvPr/>
        </p:nvSpPr>
        <p:spPr>
          <a:xfrm>
            <a:off x="4672326" y="609791"/>
            <a:ext cx="2847347" cy="999248"/>
          </a:xfrm>
          <a:prstGeom prst="rect">
            <a:avLst/>
          </a:prstGeom>
          <a:noFill/>
        </p:spPr>
        <p:txBody>
          <a:bodyPr wrap="square" lIns="0" tIns="0" rIns="0" bIns="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8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rPr>
              <a:t>2019</a:t>
            </a:r>
            <a:endParaRPr kumimoji="0" lang="en-US" sz="66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endParaRPr>
          </a:p>
        </p:txBody>
      </p:sp>
      <p:pic>
        <p:nvPicPr>
          <p:cNvPr id="7" name="Picture 6" descr="A group of people in a room&#10;&#10;Description automatically generated with medium confidence">
            <a:extLst>
              <a:ext uri="{FF2B5EF4-FFF2-40B4-BE49-F238E27FC236}">
                <a16:creationId xmlns:a16="http://schemas.microsoft.com/office/drawing/2014/main" id="{58F80C76-9028-7471-48E0-AE54DD963C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8206" y="1869141"/>
            <a:ext cx="4711589" cy="3119715"/>
          </a:xfrm>
          <a:prstGeom prst="rect">
            <a:avLst/>
          </a:prstGeom>
          <a:ln>
            <a:solidFill>
              <a:schemeClr val="accent1"/>
            </a:solidFill>
          </a:ln>
        </p:spPr>
      </p:pic>
      <p:pic>
        <p:nvPicPr>
          <p:cNvPr id="6" name="Picture 5" descr="A picture containing human face, person, clothing, indoor&#10;&#10;Description automatically generated">
            <a:extLst>
              <a:ext uri="{FF2B5EF4-FFF2-40B4-BE49-F238E27FC236}">
                <a16:creationId xmlns:a16="http://schemas.microsoft.com/office/drawing/2014/main" id="{CDA30BCD-1B3F-EA45-7FCE-4BB54A9EC4E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67390" y="1874429"/>
            <a:ext cx="4673448" cy="3109141"/>
          </a:xfrm>
          <a:prstGeom prst="rect">
            <a:avLst/>
          </a:prstGeom>
          <a:ln>
            <a:solidFill>
              <a:schemeClr val="accent1"/>
            </a:solidFill>
          </a:ln>
        </p:spPr>
      </p:pic>
      <p:pic>
        <p:nvPicPr>
          <p:cNvPr id="14" name="Picture 13" descr="A group of people sitting in chairs&#10;&#10;Description automatically generated with medium confidence">
            <a:extLst>
              <a:ext uri="{FF2B5EF4-FFF2-40B4-BE49-F238E27FC236}">
                <a16:creationId xmlns:a16="http://schemas.microsoft.com/office/drawing/2014/main" id="{048EDADB-15A6-D80C-C5A6-051560443AE2}"/>
              </a:ext>
            </a:extLst>
          </p:cNvPr>
          <p:cNvPicPr>
            <a:picLocks noChangeAspect="1"/>
          </p:cNvPicPr>
          <p:nvPr/>
        </p:nvPicPr>
        <p:blipFill rotWithShape="1">
          <a:blip r:embed="rId5">
            <a:extLst>
              <a:ext uri="{28A0092B-C50C-407E-A947-70E740481C1C}">
                <a14:useLocalDpi xmlns:a14="http://schemas.microsoft.com/office/drawing/2010/main" val="0"/>
              </a:ext>
            </a:extLst>
          </a:blip>
          <a:srcRect l="15165" r="24442"/>
          <a:stretch/>
        </p:blipFill>
        <p:spPr>
          <a:xfrm>
            <a:off x="4755638" y="3570735"/>
            <a:ext cx="2680721" cy="2825669"/>
          </a:xfrm>
          <a:prstGeom prst="rect">
            <a:avLst/>
          </a:prstGeom>
          <a:ln>
            <a:solidFill>
              <a:schemeClr val="accent1"/>
            </a:solidFill>
          </a:ln>
        </p:spPr>
      </p:pic>
    </p:spTree>
    <p:extLst>
      <p:ext uri="{BB962C8B-B14F-4D97-AF65-F5344CB8AC3E}">
        <p14:creationId xmlns:p14="http://schemas.microsoft.com/office/powerpoint/2010/main" val="139397646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607568" y="6091937"/>
            <a:ext cx="467360" cy="462279"/>
          </a:xfrm>
          <a:prstGeom prst="rect">
            <a:avLst/>
          </a:prstGeom>
        </p:spPr>
      </p:pic>
      <p:sp>
        <p:nvSpPr>
          <p:cNvPr id="4" name="object 4"/>
          <p:cNvSpPr txBox="1">
            <a:spLocks noGrp="1"/>
          </p:cNvSpPr>
          <p:nvPr>
            <p:ph type="body" idx="1"/>
          </p:nvPr>
        </p:nvSpPr>
        <p:spPr>
          <a:xfrm>
            <a:off x="503175" y="1927791"/>
            <a:ext cx="7581645" cy="3094864"/>
          </a:xfrm>
          <a:prstGeom prst="rect">
            <a:avLst/>
          </a:prstGeom>
        </p:spPr>
        <p:txBody>
          <a:bodyPr vert="horz" wrap="square" lIns="0" tIns="16933" rIns="0" bIns="0" rtlCol="0">
            <a:spAutoFit/>
          </a:bodyPr>
          <a:lstStyle/>
          <a:p>
            <a:pPr marL="358986" marR="6773" indent="-342900">
              <a:buSzPct val="86000"/>
              <a:buFont typeface="Arial" panose="020B0604020202020204" pitchFamily="34" charset="0"/>
              <a:buChar char="•"/>
              <a:tabLst>
                <a:tab pos="247220" algn="l"/>
              </a:tabLst>
            </a:pPr>
            <a:r>
              <a:rPr sz="2000">
                <a:latin typeface="BentonSans Light" panose="02000503000000020004" pitchFamily="2" charset="0"/>
              </a:rPr>
              <a:t>How</a:t>
            </a:r>
            <a:r>
              <a:rPr sz="2000" spc="-40">
                <a:latin typeface="BentonSans Light" panose="02000503000000020004" pitchFamily="2" charset="0"/>
              </a:rPr>
              <a:t> </a:t>
            </a:r>
            <a:r>
              <a:rPr sz="2000">
                <a:latin typeface="BentonSans Light" panose="02000503000000020004" pitchFamily="2" charset="0"/>
              </a:rPr>
              <a:t>you</a:t>
            </a:r>
            <a:r>
              <a:rPr sz="2000" spc="-20">
                <a:latin typeface="BentonSans Light" panose="02000503000000020004" pitchFamily="2" charset="0"/>
              </a:rPr>
              <a:t> </a:t>
            </a:r>
            <a:r>
              <a:rPr sz="2000" spc="-13">
                <a:solidFill>
                  <a:srgbClr val="006ECF"/>
                </a:solidFill>
                <a:latin typeface="BentonSans Medium" panose="02000603000000020004" pitchFamily="2" charset="0"/>
              </a:rPr>
              <a:t>connect</a:t>
            </a:r>
            <a:r>
              <a:rPr sz="2000" spc="-93">
                <a:solidFill>
                  <a:srgbClr val="006ECF"/>
                </a:solidFill>
                <a:latin typeface="BentonSans Light" panose="02000503000000020004" pitchFamily="2" charset="0"/>
              </a:rPr>
              <a:t> </a:t>
            </a:r>
            <a:r>
              <a:rPr sz="2000">
                <a:latin typeface="BentonSans Light" panose="02000503000000020004" pitchFamily="2" charset="0"/>
              </a:rPr>
              <a:t>with</a:t>
            </a:r>
            <a:r>
              <a:rPr sz="2000" spc="-33">
                <a:latin typeface="BentonSans Light" panose="02000503000000020004" pitchFamily="2" charset="0"/>
              </a:rPr>
              <a:t> </a:t>
            </a:r>
            <a:r>
              <a:rPr sz="2000">
                <a:latin typeface="BentonSans Light" panose="02000503000000020004" pitchFamily="2" charset="0"/>
              </a:rPr>
              <a:t>people</a:t>
            </a:r>
            <a:r>
              <a:rPr sz="2000" spc="-33">
                <a:latin typeface="BentonSans Light" panose="02000503000000020004" pitchFamily="2" charset="0"/>
              </a:rPr>
              <a:t> </a:t>
            </a:r>
            <a:r>
              <a:rPr sz="2000">
                <a:latin typeface="BentonSans Light" panose="02000503000000020004" pitchFamily="2" charset="0"/>
              </a:rPr>
              <a:t>and</a:t>
            </a:r>
            <a:r>
              <a:rPr sz="2000" spc="-33">
                <a:latin typeface="BentonSans Light" panose="02000503000000020004" pitchFamily="2" charset="0"/>
              </a:rPr>
              <a:t> </a:t>
            </a:r>
            <a:r>
              <a:rPr sz="2000">
                <a:latin typeface="BentonSans Light" panose="02000503000000020004" pitchFamily="2" charset="0"/>
              </a:rPr>
              <a:t>allow</a:t>
            </a:r>
            <a:r>
              <a:rPr sz="2000" spc="-20">
                <a:latin typeface="BentonSans Light" panose="02000503000000020004" pitchFamily="2" charset="0"/>
              </a:rPr>
              <a:t> </a:t>
            </a:r>
            <a:r>
              <a:rPr sz="2000">
                <a:latin typeface="BentonSans Light" panose="02000503000000020004" pitchFamily="2" charset="0"/>
              </a:rPr>
              <a:t>them</a:t>
            </a:r>
            <a:r>
              <a:rPr sz="2000" spc="-33">
                <a:latin typeface="BentonSans Light" panose="02000503000000020004" pitchFamily="2" charset="0"/>
              </a:rPr>
              <a:t> to </a:t>
            </a:r>
            <a:r>
              <a:rPr sz="2000">
                <a:latin typeface="BentonSans Light" panose="02000503000000020004" pitchFamily="2" charset="0"/>
              </a:rPr>
              <a:t>know</a:t>
            </a:r>
            <a:r>
              <a:rPr sz="2000" spc="-53">
                <a:latin typeface="BentonSans Light" panose="02000503000000020004" pitchFamily="2" charset="0"/>
              </a:rPr>
              <a:t> </a:t>
            </a:r>
            <a:r>
              <a:rPr sz="2000">
                <a:latin typeface="BentonSans Light" panose="02000503000000020004" pitchFamily="2" charset="0"/>
              </a:rPr>
              <a:t>and</a:t>
            </a:r>
            <a:r>
              <a:rPr sz="2000" spc="-40">
                <a:latin typeface="BentonSans Light" panose="02000503000000020004" pitchFamily="2" charset="0"/>
              </a:rPr>
              <a:t> </a:t>
            </a:r>
            <a:r>
              <a:rPr sz="2000">
                <a:latin typeface="BentonSans Light" panose="02000503000000020004" pitchFamily="2" charset="0"/>
              </a:rPr>
              <a:t>connect</a:t>
            </a:r>
            <a:r>
              <a:rPr sz="2000" spc="-67">
                <a:latin typeface="BentonSans Light" panose="02000503000000020004" pitchFamily="2" charset="0"/>
              </a:rPr>
              <a:t> </a:t>
            </a:r>
            <a:r>
              <a:rPr sz="2000">
                <a:latin typeface="BentonSans Light" panose="02000503000000020004" pitchFamily="2" charset="0"/>
              </a:rPr>
              <a:t>with</a:t>
            </a:r>
            <a:r>
              <a:rPr sz="2000" spc="-13">
                <a:latin typeface="BentonSans Light" panose="02000503000000020004" pitchFamily="2" charset="0"/>
              </a:rPr>
              <a:t> </a:t>
            </a:r>
            <a:r>
              <a:rPr sz="2000" spc="-33">
                <a:latin typeface="BentonSans Light" panose="02000503000000020004" pitchFamily="2" charset="0"/>
              </a:rPr>
              <a:t>you</a:t>
            </a:r>
            <a:endParaRPr lang="en-GB" sz="2000" spc="-33">
              <a:latin typeface="BentonSans Light" panose="02000503000000020004" pitchFamily="2" charset="0"/>
            </a:endParaRPr>
          </a:p>
          <a:p>
            <a:pPr marL="358986" marR="6773" indent="-342900">
              <a:buSzPct val="86000"/>
              <a:buFont typeface="Arial" panose="020B0604020202020204" pitchFamily="34" charset="0"/>
              <a:buChar char="•"/>
              <a:tabLst>
                <a:tab pos="247220" algn="l"/>
              </a:tabLst>
            </a:pPr>
            <a:endParaRPr sz="2000" spc="-33">
              <a:latin typeface="BentonSans Light" panose="02000503000000020004" pitchFamily="2" charset="0"/>
            </a:endParaRPr>
          </a:p>
          <a:p>
            <a:pPr marL="358986" indent="-342900">
              <a:buSzPct val="86000"/>
              <a:buFont typeface="Arial" panose="020B0604020202020204" pitchFamily="34" charset="0"/>
              <a:buChar char="•"/>
              <a:tabLst>
                <a:tab pos="247220" algn="l"/>
              </a:tabLst>
            </a:pPr>
            <a:r>
              <a:rPr sz="2000">
                <a:latin typeface="BentonSans Light" panose="02000503000000020004" pitchFamily="2" charset="0"/>
              </a:rPr>
              <a:t>Ultimately,</a:t>
            </a:r>
            <a:r>
              <a:rPr sz="2000" spc="-47">
                <a:latin typeface="BentonSans Light" panose="02000503000000020004" pitchFamily="2" charset="0"/>
              </a:rPr>
              <a:t> </a:t>
            </a:r>
            <a:r>
              <a:rPr sz="2000">
                <a:latin typeface="BentonSans Light" panose="02000503000000020004" pitchFamily="2" charset="0"/>
              </a:rPr>
              <a:t>being</a:t>
            </a:r>
            <a:r>
              <a:rPr sz="2000" spc="-53">
                <a:latin typeface="BentonSans Light" panose="02000503000000020004" pitchFamily="2" charset="0"/>
              </a:rPr>
              <a:t> </a:t>
            </a:r>
            <a:r>
              <a:rPr sz="2000">
                <a:latin typeface="BentonSans Light" panose="02000503000000020004" pitchFamily="2" charset="0"/>
              </a:rPr>
              <a:t>vulnerable</a:t>
            </a:r>
            <a:r>
              <a:rPr sz="2000" spc="-53">
                <a:latin typeface="BentonSans Light" panose="02000503000000020004" pitchFamily="2" charset="0"/>
              </a:rPr>
              <a:t> </a:t>
            </a:r>
            <a:r>
              <a:rPr sz="2000">
                <a:latin typeface="BentonSans Light" panose="02000503000000020004" pitchFamily="2" charset="0"/>
              </a:rPr>
              <a:t>in</a:t>
            </a:r>
            <a:r>
              <a:rPr sz="2000" spc="-40">
                <a:latin typeface="BentonSans Light" panose="02000503000000020004" pitchFamily="2" charset="0"/>
              </a:rPr>
              <a:t> </a:t>
            </a:r>
            <a:r>
              <a:rPr sz="2000">
                <a:latin typeface="BentonSans Light" panose="02000503000000020004" pitchFamily="2" charset="0"/>
              </a:rPr>
              <a:t>this</a:t>
            </a:r>
            <a:r>
              <a:rPr sz="2000" spc="-27">
                <a:latin typeface="BentonSans Light" panose="02000503000000020004" pitchFamily="2" charset="0"/>
              </a:rPr>
              <a:t> </a:t>
            </a:r>
            <a:r>
              <a:rPr sz="2000">
                <a:latin typeface="BentonSans Light" panose="02000503000000020004" pitchFamily="2" charset="0"/>
              </a:rPr>
              <a:t>way</a:t>
            </a:r>
            <a:r>
              <a:rPr sz="2000" spc="-53">
                <a:latin typeface="BentonSans Light" panose="02000503000000020004" pitchFamily="2" charset="0"/>
              </a:rPr>
              <a:t> </a:t>
            </a:r>
            <a:r>
              <a:rPr sz="2000" spc="-13">
                <a:latin typeface="BentonSans Light" panose="02000503000000020004" pitchFamily="2" charset="0"/>
              </a:rPr>
              <a:t>creates</a:t>
            </a:r>
            <a:r>
              <a:rPr lang="en-GB" sz="2000" spc="-13">
                <a:latin typeface="BentonSans Light" panose="02000503000000020004" pitchFamily="2" charset="0"/>
              </a:rPr>
              <a:t> </a:t>
            </a:r>
            <a:r>
              <a:rPr sz="2000" spc="-13">
                <a:solidFill>
                  <a:srgbClr val="006ECF"/>
                </a:solidFill>
                <a:latin typeface="BentonSans Medium" panose="02000603000000020004" pitchFamily="2" charset="0"/>
              </a:rPr>
              <a:t>trust</a:t>
            </a:r>
            <a:endParaRPr lang="en-GB" sz="2000" spc="-13">
              <a:solidFill>
                <a:srgbClr val="006ECF"/>
              </a:solidFill>
              <a:latin typeface="BentonSans Medium" panose="02000603000000020004" pitchFamily="2" charset="0"/>
            </a:endParaRPr>
          </a:p>
          <a:p>
            <a:pPr marL="358986" indent="-342900">
              <a:buSzPct val="86000"/>
              <a:buFont typeface="Arial" panose="020B0604020202020204" pitchFamily="34" charset="0"/>
              <a:buChar char="•"/>
              <a:tabLst>
                <a:tab pos="247220" algn="l"/>
              </a:tabLst>
            </a:pPr>
            <a:endParaRPr sz="2000" spc="-13">
              <a:solidFill>
                <a:srgbClr val="006ECF"/>
              </a:solidFill>
              <a:latin typeface="BentonSans Light" panose="02000503000000020004" pitchFamily="2" charset="0"/>
            </a:endParaRPr>
          </a:p>
          <a:p>
            <a:pPr marL="358986" indent="-342900">
              <a:buSzPct val="86000"/>
              <a:buFont typeface="Arial" panose="020B0604020202020204" pitchFamily="34" charset="0"/>
              <a:buChar char="•"/>
              <a:tabLst>
                <a:tab pos="247220" algn="l"/>
              </a:tabLst>
            </a:pPr>
            <a:r>
              <a:rPr sz="2000">
                <a:latin typeface="BentonSans Light" panose="02000503000000020004" pitchFamily="2" charset="0"/>
              </a:rPr>
              <a:t>Not</a:t>
            </a:r>
            <a:r>
              <a:rPr sz="2000" spc="-40">
                <a:latin typeface="BentonSans Light" panose="02000503000000020004" pitchFamily="2" charset="0"/>
              </a:rPr>
              <a:t> </a:t>
            </a:r>
            <a:r>
              <a:rPr sz="2000">
                <a:latin typeface="BentonSans Light" panose="02000503000000020004" pitchFamily="2" charset="0"/>
              </a:rPr>
              <a:t>just</a:t>
            </a:r>
            <a:r>
              <a:rPr sz="2000" spc="-40">
                <a:latin typeface="BentonSans Light" panose="02000503000000020004" pitchFamily="2" charset="0"/>
              </a:rPr>
              <a:t> </a:t>
            </a:r>
            <a:r>
              <a:rPr sz="2000">
                <a:latin typeface="BentonSans Light" panose="02000503000000020004" pitchFamily="2" charset="0"/>
              </a:rPr>
              <a:t>“being</a:t>
            </a:r>
            <a:r>
              <a:rPr sz="2000" spc="-40">
                <a:latin typeface="BentonSans Light" panose="02000503000000020004" pitchFamily="2" charset="0"/>
              </a:rPr>
              <a:t> </a:t>
            </a:r>
            <a:r>
              <a:rPr sz="2000">
                <a:latin typeface="BentonSans Light" panose="02000503000000020004" pitchFamily="2" charset="0"/>
              </a:rPr>
              <a:t>yourself”</a:t>
            </a:r>
            <a:r>
              <a:rPr sz="2000" spc="-27">
                <a:latin typeface="BentonSans Light" panose="02000503000000020004" pitchFamily="2" charset="0"/>
              </a:rPr>
              <a:t> </a:t>
            </a:r>
            <a:r>
              <a:rPr sz="2000">
                <a:latin typeface="BentonSans Light" panose="02000503000000020004" pitchFamily="2" charset="0"/>
              </a:rPr>
              <a:t>and</a:t>
            </a:r>
            <a:r>
              <a:rPr sz="2000" spc="-40">
                <a:latin typeface="BentonSans Light" panose="02000503000000020004" pitchFamily="2" charset="0"/>
              </a:rPr>
              <a:t> </a:t>
            </a:r>
            <a:r>
              <a:rPr sz="2000">
                <a:latin typeface="BentonSans Light" panose="02000503000000020004" pitchFamily="2" charset="0"/>
              </a:rPr>
              <a:t>being</a:t>
            </a:r>
            <a:r>
              <a:rPr sz="2000" spc="-40">
                <a:latin typeface="BentonSans Light" panose="02000503000000020004" pitchFamily="2" charset="0"/>
              </a:rPr>
              <a:t> </a:t>
            </a:r>
            <a:r>
              <a:rPr sz="2000">
                <a:latin typeface="BentonSans Light" panose="02000503000000020004" pitchFamily="2" charset="0"/>
              </a:rPr>
              <a:t>rigid</a:t>
            </a:r>
            <a:r>
              <a:rPr sz="2000" spc="-20">
                <a:latin typeface="BentonSans Light" panose="02000503000000020004" pitchFamily="2" charset="0"/>
              </a:rPr>
              <a:t> </a:t>
            </a:r>
            <a:r>
              <a:rPr sz="2000" spc="-33">
                <a:latin typeface="BentonSans Light" panose="02000503000000020004" pitchFamily="2" charset="0"/>
              </a:rPr>
              <a:t>to</a:t>
            </a:r>
            <a:r>
              <a:rPr lang="en-GB" sz="2000" spc="-33">
                <a:latin typeface="BentonSans Light" panose="02000503000000020004" pitchFamily="2" charset="0"/>
              </a:rPr>
              <a:t> </a:t>
            </a:r>
            <a:r>
              <a:rPr sz="2000">
                <a:latin typeface="BentonSans Light" panose="02000503000000020004" pitchFamily="2" charset="0"/>
              </a:rPr>
              <a:t>outside</a:t>
            </a:r>
            <a:r>
              <a:rPr sz="2000" spc="-53">
                <a:latin typeface="BentonSans Light" panose="02000503000000020004" pitchFamily="2" charset="0"/>
              </a:rPr>
              <a:t> </a:t>
            </a:r>
            <a:r>
              <a:rPr sz="2000">
                <a:latin typeface="BentonSans Light" panose="02000503000000020004" pitchFamily="2" charset="0"/>
              </a:rPr>
              <a:t>information</a:t>
            </a:r>
            <a:r>
              <a:rPr sz="2000" spc="-13">
                <a:latin typeface="BentonSans Light" panose="02000503000000020004" pitchFamily="2" charset="0"/>
              </a:rPr>
              <a:t> </a:t>
            </a:r>
            <a:r>
              <a:rPr sz="2000">
                <a:latin typeface="BentonSans Light" panose="02000503000000020004" pitchFamily="2" charset="0"/>
              </a:rPr>
              <a:t>and</a:t>
            </a:r>
            <a:r>
              <a:rPr sz="2000" spc="-33">
                <a:latin typeface="BentonSans Light" panose="02000503000000020004" pitchFamily="2" charset="0"/>
              </a:rPr>
              <a:t> </a:t>
            </a:r>
            <a:r>
              <a:rPr sz="2000">
                <a:latin typeface="BentonSans Light" panose="02000503000000020004" pitchFamily="2" charset="0"/>
              </a:rPr>
              <a:t>resistant</a:t>
            </a:r>
            <a:r>
              <a:rPr sz="2000" spc="-67">
                <a:latin typeface="BentonSans Light" panose="02000503000000020004" pitchFamily="2" charset="0"/>
              </a:rPr>
              <a:t> </a:t>
            </a:r>
            <a:r>
              <a:rPr sz="2000">
                <a:latin typeface="BentonSans Light" panose="02000503000000020004" pitchFamily="2" charset="0"/>
              </a:rPr>
              <a:t>to</a:t>
            </a:r>
            <a:r>
              <a:rPr sz="2000" spc="-13">
                <a:latin typeface="BentonSans Light" panose="02000503000000020004" pitchFamily="2" charset="0"/>
              </a:rPr>
              <a:t> change</a:t>
            </a:r>
            <a:endParaRPr lang="en-GB" sz="2000" spc="-13">
              <a:latin typeface="BentonSans Light" panose="02000503000000020004" pitchFamily="2" charset="0"/>
            </a:endParaRPr>
          </a:p>
          <a:p>
            <a:pPr marL="358986" indent="-342900">
              <a:buSzPct val="86000"/>
              <a:buFont typeface="Arial" panose="020B0604020202020204" pitchFamily="34" charset="0"/>
              <a:buChar char="•"/>
              <a:tabLst>
                <a:tab pos="247220" algn="l"/>
              </a:tabLst>
            </a:pPr>
            <a:endParaRPr sz="2000" spc="-13">
              <a:latin typeface="BentonSans Light" panose="02000503000000020004" pitchFamily="2" charset="0"/>
            </a:endParaRPr>
          </a:p>
          <a:p>
            <a:pPr marL="358986" marR="443642" indent="-342900">
              <a:buSzPct val="86000"/>
              <a:buFont typeface="Arial" panose="020B0604020202020204" pitchFamily="34" charset="0"/>
              <a:buChar char="•"/>
              <a:tabLst>
                <a:tab pos="247220" algn="l"/>
              </a:tabLst>
            </a:pPr>
            <a:r>
              <a:rPr sz="2000">
                <a:latin typeface="BentonSans Light" panose="02000503000000020004" pitchFamily="2" charset="0"/>
              </a:rPr>
              <a:t>An</a:t>
            </a:r>
            <a:r>
              <a:rPr sz="2000" spc="-27">
                <a:latin typeface="BentonSans Light" panose="02000503000000020004" pitchFamily="2" charset="0"/>
              </a:rPr>
              <a:t> </a:t>
            </a:r>
            <a:r>
              <a:rPr sz="2000">
                <a:latin typeface="BentonSans Light" panose="02000503000000020004" pitchFamily="2" charset="0"/>
              </a:rPr>
              <a:t>environment</a:t>
            </a:r>
            <a:r>
              <a:rPr sz="2000" spc="-20">
                <a:latin typeface="BentonSans Light" panose="02000503000000020004" pitchFamily="2" charset="0"/>
              </a:rPr>
              <a:t> </a:t>
            </a:r>
            <a:r>
              <a:rPr sz="2000">
                <a:latin typeface="BentonSans Light" panose="02000503000000020004" pitchFamily="2" charset="0"/>
              </a:rPr>
              <a:t>that</a:t>
            </a:r>
            <a:r>
              <a:rPr sz="2000" spc="-27">
                <a:latin typeface="BentonSans Light" panose="02000503000000020004" pitchFamily="2" charset="0"/>
              </a:rPr>
              <a:t> </a:t>
            </a:r>
            <a:r>
              <a:rPr sz="2000">
                <a:latin typeface="BentonSans Light" panose="02000503000000020004" pitchFamily="2" charset="0"/>
              </a:rPr>
              <a:t>encourages</a:t>
            </a:r>
            <a:r>
              <a:rPr sz="2000" spc="-60">
                <a:latin typeface="BentonSans Light" panose="02000503000000020004" pitchFamily="2" charset="0"/>
              </a:rPr>
              <a:t> </a:t>
            </a:r>
            <a:r>
              <a:rPr sz="2000">
                <a:latin typeface="BentonSans Light" panose="02000503000000020004" pitchFamily="2" charset="0"/>
              </a:rPr>
              <a:t>us</a:t>
            </a:r>
            <a:r>
              <a:rPr sz="2000" spc="-20">
                <a:latin typeface="BentonSans Light" panose="02000503000000020004" pitchFamily="2" charset="0"/>
              </a:rPr>
              <a:t> </a:t>
            </a:r>
            <a:r>
              <a:rPr sz="2000">
                <a:latin typeface="BentonSans Light" panose="02000503000000020004" pitchFamily="2" charset="0"/>
              </a:rPr>
              <a:t>to</a:t>
            </a:r>
            <a:r>
              <a:rPr sz="2000" spc="-13">
                <a:latin typeface="BentonSans Light" panose="02000503000000020004" pitchFamily="2" charset="0"/>
              </a:rPr>
              <a:t> </a:t>
            </a:r>
            <a:r>
              <a:rPr sz="2000" spc="-27">
                <a:latin typeface="BentonSans Light" panose="02000503000000020004" pitchFamily="2" charset="0"/>
              </a:rPr>
              <a:t>find </a:t>
            </a:r>
            <a:r>
              <a:rPr sz="2000">
                <a:latin typeface="BentonSans Light" panose="02000503000000020004" pitchFamily="2" charset="0"/>
              </a:rPr>
              <a:t>commonalities</a:t>
            </a:r>
            <a:r>
              <a:rPr sz="2000" spc="-60">
                <a:latin typeface="BentonSans Light" panose="02000503000000020004" pitchFamily="2" charset="0"/>
              </a:rPr>
              <a:t> </a:t>
            </a:r>
            <a:r>
              <a:rPr sz="2000" i="1">
                <a:latin typeface="BentonSans Light" panose="02000503000000020004" pitchFamily="2" charset="0"/>
              </a:rPr>
              <a:t>and</a:t>
            </a:r>
            <a:r>
              <a:rPr sz="2000" i="1" spc="-47">
                <a:latin typeface="BentonSans Light" panose="02000503000000020004" pitchFamily="2" charset="0"/>
              </a:rPr>
              <a:t> </a:t>
            </a:r>
            <a:r>
              <a:rPr sz="2000">
                <a:latin typeface="BentonSans Light" panose="02000503000000020004" pitchFamily="2" charset="0"/>
              </a:rPr>
              <a:t>see</a:t>
            </a:r>
            <a:r>
              <a:rPr sz="2000" spc="-47">
                <a:latin typeface="BentonSans Light" panose="02000503000000020004" pitchFamily="2" charset="0"/>
              </a:rPr>
              <a:t> </a:t>
            </a:r>
            <a:r>
              <a:rPr sz="2000">
                <a:latin typeface="BentonSans Light" panose="02000503000000020004" pitchFamily="2" charset="0"/>
              </a:rPr>
              <a:t>the</a:t>
            </a:r>
            <a:r>
              <a:rPr sz="2000" spc="-47">
                <a:latin typeface="BentonSans Light" panose="02000503000000020004" pitchFamily="2" charset="0"/>
              </a:rPr>
              <a:t> </a:t>
            </a:r>
            <a:r>
              <a:rPr sz="2000">
                <a:latin typeface="BentonSans Light" panose="02000503000000020004" pitchFamily="2" charset="0"/>
              </a:rPr>
              <a:t>possibilities</a:t>
            </a:r>
            <a:r>
              <a:rPr sz="2000" spc="-53">
                <a:latin typeface="BentonSans Light" panose="02000503000000020004" pitchFamily="2" charset="0"/>
              </a:rPr>
              <a:t> </a:t>
            </a:r>
            <a:r>
              <a:rPr sz="2000" spc="-33">
                <a:latin typeface="BentonSans Light" panose="02000503000000020004" pitchFamily="2" charset="0"/>
              </a:rPr>
              <a:t>and </a:t>
            </a:r>
            <a:r>
              <a:rPr sz="2000">
                <a:latin typeface="BentonSans Light" panose="02000503000000020004" pitchFamily="2" charset="0"/>
              </a:rPr>
              <a:t>opportunities</a:t>
            </a:r>
            <a:r>
              <a:rPr sz="2000" spc="-60">
                <a:latin typeface="BentonSans Light" panose="02000503000000020004" pitchFamily="2" charset="0"/>
              </a:rPr>
              <a:t> </a:t>
            </a:r>
            <a:r>
              <a:rPr sz="2000">
                <a:latin typeface="BentonSans Light" panose="02000503000000020004" pitchFamily="2" charset="0"/>
              </a:rPr>
              <a:t>in</a:t>
            </a:r>
            <a:r>
              <a:rPr sz="2000" spc="-7">
                <a:latin typeface="BentonSans Light" panose="02000503000000020004" pitchFamily="2" charset="0"/>
              </a:rPr>
              <a:t> </a:t>
            </a:r>
            <a:r>
              <a:rPr sz="2000" spc="-13">
                <a:latin typeface="BentonSans Light" panose="02000503000000020004" pitchFamily="2" charset="0"/>
              </a:rPr>
              <a:t>difference?</a:t>
            </a:r>
          </a:p>
        </p:txBody>
      </p:sp>
      <p:sp>
        <p:nvSpPr>
          <p:cNvPr id="6" name="object 6"/>
          <p:cNvSpPr txBox="1">
            <a:spLocks noGrp="1"/>
          </p:cNvSpPr>
          <p:nvPr>
            <p:ph type="title"/>
          </p:nvPr>
        </p:nvSpPr>
        <p:spPr>
          <a:xfrm>
            <a:off x="503175" y="1018791"/>
            <a:ext cx="11185650" cy="344475"/>
          </a:xfrm>
          <a:prstGeom prst="rect">
            <a:avLst/>
          </a:prstGeom>
        </p:spPr>
        <p:txBody>
          <a:bodyPr vert="horz" wrap="square" lIns="0" tIns="16087" rIns="0" bIns="0" rtlCol="0">
            <a:spAutoFit/>
          </a:bodyPr>
          <a:lstStyle/>
          <a:p>
            <a:pPr marL="16933" algn="ctr">
              <a:spcBef>
                <a:spcPts val="127"/>
              </a:spcBef>
            </a:pPr>
            <a:r>
              <a:rPr>
                <a:solidFill>
                  <a:srgbClr val="1C2156"/>
                </a:solidFill>
                <a:latin typeface="BentonSans Medium" panose="02000603000000020004" pitchFamily="2" charset="0"/>
              </a:rPr>
              <a:t>Authentic</a:t>
            </a:r>
            <a:r>
              <a:rPr spc="-47">
                <a:solidFill>
                  <a:srgbClr val="1C2156"/>
                </a:solidFill>
                <a:latin typeface="BentonSans Medium" panose="02000603000000020004" pitchFamily="2" charset="0"/>
              </a:rPr>
              <a:t> </a:t>
            </a:r>
            <a:r>
              <a:rPr>
                <a:solidFill>
                  <a:srgbClr val="1C2156"/>
                </a:solidFill>
                <a:latin typeface="BentonSans Medium" panose="02000603000000020004" pitchFamily="2" charset="0"/>
              </a:rPr>
              <a:t>leadership:</a:t>
            </a:r>
            <a:r>
              <a:rPr spc="-20">
                <a:solidFill>
                  <a:srgbClr val="1C2156"/>
                </a:solidFill>
                <a:latin typeface="BentonSans Medium" panose="02000603000000020004" pitchFamily="2" charset="0"/>
              </a:rPr>
              <a:t> </a:t>
            </a:r>
            <a:r>
              <a:rPr>
                <a:solidFill>
                  <a:srgbClr val="1C2156"/>
                </a:solidFill>
                <a:latin typeface="BentonSans Medium" panose="02000603000000020004" pitchFamily="2" charset="0"/>
              </a:rPr>
              <a:t>what</a:t>
            </a:r>
            <a:r>
              <a:rPr spc="-73">
                <a:solidFill>
                  <a:srgbClr val="1C2156"/>
                </a:solidFill>
                <a:latin typeface="BentonSans Medium" panose="02000603000000020004" pitchFamily="2" charset="0"/>
              </a:rPr>
              <a:t> </a:t>
            </a:r>
            <a:r>
              <a:rPr>
                <a:solidFill>
                  <a:srgbClr val="1C2156"/>
                </a:solidFill>
                <a:latin typeface="BentonSans Medium" panose="02000603000000020004" pitchFamily="2" charset="0"/>
              </a:rPr>
              <a:t>does</a:t>
            </a:r>
            <a:r>
              <a:rPr spc="-40">
                <a:solidFill>
                  <a:srgbClr val="1C2156"/>
                </a:solidFill>
                <a:latin typeface="BentonSans Medium" panose="02000603000000020004" pitchFamily="2" charset="0"/>
              </a:rPr>
              <a:t> </a:t>
            </a:r>
            <a:r>
              <a:rPr>
                <a:solidFill>
                  <a:srgbClr val="1C2156"/>
                </a:solidFill>
                <a:latin typeface="BentonSans Medium" panose="02000603000000020004" pitchFamily="2" charset="0"/>
              </a:rPr>
              <a:t>it</a:t>
            </a:r>
            <a:r>
              <a:rPr spc="-80">
                <a:solidFill>
                  <a:srgbClr val="1C2156"/>
                </a:solidFill>
                <a:latin typeface="BentonSans Medium" panose="02000603000000020004" pitchFamily="2" charset="0"/>
              </a:rPr>
              <a:t> </a:t>
            </a:r>
            <a:r>
              <a:rPr>
                <a:solidFill>
                  <a:srgbClr val="1C2156"/>
                </a:solidFill>
                <a:latin typeface="BentonSans Medium" panose="02000603000000020004" pitchFamily="2" charset="0"/>
              </a:rPr>
              <a:t>mean</a:t>
            </a:r>
            <a:r>
              <a:rPr spc="-67">
                <a:solidFill>
                  <a:srgbClr val="1C2156"/>
                </a:solidFill>
                <a:latin typeface="BentonSans Medium" panose="02000603000000020004" pitchFamily="2" charset="0"/>
              </a:rPr>
              <a:t> </a:t>
            </a:r>
            <a:r>
              <a:rPr>
                <a:solidFill>
                  <a:srgbClr val="1C2156"/>
                </a:solidFill>
                <a:latin typeface="BentonSans Medium" panose="02000603000000020004" pitchFamily="2" charset="0"/>
              </a:rPr>
              <a:t>as</a:t>
            </a:r>
            <a:r>
              <a:rPr spc="-67">
                <a:solidFill>
                  <a:srgbClr val="1C2156"/>
                </a:solidFill>
                <a:latin typeface="BentonSans Medium" panose="02000603000000020004" pitchFamily="2" charset="0"/>
              </a:rPr>
              <a:t> </a:t>
            </a:r>
            <a:r>
              <a:rPr>
                <a:solidFill>
                  <a:srgbClr val="1C2156"/>
                </a:solidFill>
                <a:latin typeface="BentonSans Medium" panose="02000603000000020004" pitchFamily="2" charset="0"/>
              </a:rPr>
              <a:t>a</a:t>
            </a:r>
            <a:r>
              <a:rPr spc="-60">
                <a:solidFill>
                  <a:srgbClr val="1C2156"/>
                </a:solidFill>
                <a:latin typeface="BentonSans Medium" panose="02000603000000020004" pitchFamily="2" charset="0"/>
              </a:rPr>
              <a:t> </a:t>
            </a:r>
            <a:r>
              <a:rPr>
                <a:solidFill>
                  <a:srgbClr val="1C2156"/>
                </a:solidFill>
                <a:latin typeface="BentonSans Medium" panose="02000603000000020004" pitchFamily="2" charset="0"/>
              </a:rPr>
              <a:t>concept</a:t>
            </a:r>
            <a:r>
              <a:rPr spc="-33">
                <a:solidFill>
                  <a:srgbClr val="1C2156"/>
                </a:solidFill>
                <a:latin typeface="BentonSans Medium" panose="02000603000000020004" pitchFamily="2" charset="0"/>
              </a:rPr>
              <a:t> </a:t>
            </a:r>
            <a:r>
              <a:rPr>
                <a:solidFill>
                  <a:srgbClr val="1C2156"/>
                </a:solidFill>
                <a:latin typeface="BentonSans Medium" panose="02000603000000020004" pitchFamily="2" charset="0"/>
              </a:rPr>
              <a:t>throughout</a:t>
            </a:r>
            <a:r>
              <a:rPr spc="-60">
                <a:solidFill>
                  <a:srgbClr val="1C2156"/>
                </a:solidFill>
                <a:latin typeface="BentonSans Medium" panose="02000603000000020004" pitchFamily="2" charset="0"/>
              </a:rPr>
              <a:t> </a:t>
            </a:r>
            <a:r>
              <a:rPr>
                <a:solidFill>
                  <a:srgbClr val="1C2156"/>
                </a:solidFill>
                <a:latin typeface="BentonSans Medium" panose="02000603000000020004" pitchFamily="2" charset="0"/>
              </a:rPr>
              <a:t>our</a:t>
            </a:r>
            <a:r>
              <a:rPr spc="-67">
                <a:solidFill>
                  <a:srgbClr val="1C2156"/>
                </a:solidFill>
                <a:latin typeface="BentonSans Medium" panose="02000603000000020004" pitchFamily="2" charset="0"/>
              </a:rPr>
              <a:t> </a:t>
            </a:r>
            <a:r>
              <a:rPr spc="-13">
                <a:solidFill>
                  <a:srgbClr val="1C2156"/>
                </a:solidFill>
                <a:latin typeface="BentonSans Medium" panose="02000603000000020004" pitchFamily="2" charset="0"/>
              </a:rPr>
              <a:t>career?</a:t>
            </a:r>
          </a:p>
        </p:txBody>
      </p:sp>
      <p:sp>
        <p:nvSpPr>
          <p:cNvPr id="11" name="Title 3">
            <a:extLst>
              <a:ext uri="{FF2B5EF4-FFF2-40B4-BE49-F238E27FC236}">
                <a16:creationId xmlns:a16="http://schemas.microsoft.com/office/drawing/2014/main" id="{60271F73-D2A3-DDD6-D4CF-BDF8419A2937}"/>
              </a:ext>
            </a:extLst>
          </p:cNvPr>
          <p:cNvSpPr txBox="1">
            <a:spLocks/>
          </p:cNvSpPr>
          <p:nvPr/>
        </p:nvSpPr>
        <p:spPr>
          <a:xfrm>
            <a:off x="503175" y="199987"/>
            <a:ext cx="11185650" cy="911860"/>
          </a:xfrm>
          <a:prstGeom prst="rect">
            <a:avLst/>
          </a:prstGeom>
        </p:spPr>
        <p:txBody>
          <a:bodyPr vert="horz" lIns="0" tIns="0" rIns="0" bIns="0" rtlCol="0" anchor="ctr" anchorCtr="0">
            <a:noAutofit/>
          </a:bodyPr>
          <a:lstStyle>
            <a:lvl1pPr algn="l" defTabSz="685800" rtl="0" eaLnBrk="1" latinLnBrk="0" hangingPunct="1">
              <a:lnSpc>
                <a:spcPct val="90000"/>
              </a:lnSpc>
              <a:spcBef>
                <a:spcPct val="0"/>
              </a:spcBef>
              <a:buNone/>
              <a:defRPr sz="2400" kern="1200" spc="-40" baseline="0">
                <a:solidFill>
                  <a:schemeClr val="bg2"/>
                </a:solidFill>
                <a:latin typeface="+mj-lt"/>
                <a:ea typeface="+mj-ea"/>
                <a:cs typeface="+mj-cs"/>
              </a:defRPr>
            </a:lvl1pPr>
          </a:lstStyle>
          <a:p>
            <a:pPr marL="0" marR="0" lvl="0" indent="0" algn="ctr" defTabSz="91437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53" normalizeH="0" baseline="0" noProof="0">
                <a:ln>
                  <a:noFill/>
                </a:ln>
                <a:solidFill>
                  <a:srgbClr val="006FCF"/>
                </a:solidFill>
                <a:effectLst/>
                <a:uLnTx/>
                <a:uFillTx/>
                <a:latin typeface="BentonSans Light" panose="02000503000000020004" pitchFamily="2" charset="0"/>
                <a:ea typeface="+mj-ea"/>
                <a:cs typeface="+mj-cs"/>
              </a:rPr>
              <a:t>What is Authenticity?</a:t>
            </a:r>
          </a:p>
        </p:txBody>
      </p:sp>
      <p:pic>
        <p:nvPicPr>
          <p:cNvPr id="1026" name="Picture 2" descr="WHCA ANNOUNCES TREVOR NOAH AS ENTERTAINER FOR 2022 DINNER | White House  Correspondents' Association (WHCA)">
            <a:extLst>
              <a:ext uri="{FF2B5EF4-FFF2-40B4-BE49-F238E27FC236}">
                <a16:creationId xmlns:a16="http://schemas.microsoft.com/office/drawing/2014/main" id="{9976875A-BC2B-9C0C-FB31-81B5E2D3E50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568" t="15451" r="7373" b="24328"/>
          <a:stretch/>
        </p:blipFill>
        <p:spPr bwMode="auto">
          <a:xfrm>
            <a:off x="8505005" y="1927791"/>
            <a:ext cx="2985700" cy="3061657"/>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8">
            <a:extLst>
              <a:ext uri="{FF2B5EF4-FFF2-40B4-BE49-F238E27FC236}">
                <a16:creationId xmlns:a16="http://schemas.microsoft.com/office/drawing/2014/main" id="{E6336F30-1C22-1DB5-E65D-2D2C0BFEE09F}"/>
              </a:ext>
            </a:extLst>
          </p:cNvPr>
          <p:cNvSpPr>
            <a:spLocks noChangeAspect="1" noEditPoints="1"/>
          </p:cNvSpPr>
          <p:nvPr/>
        </p:nvSpPr>
        <p:spPr bwMode="hidden">
          <a:xfrm>
            <a:off x="6386282" y="5240867"/>
            <a:ext cx="5647267" cy="1617133"/>
          </a:xfrm>
          <a:custGeom>
            <a:avLst/>
            <a:gdLst>
              <a:gd name="T0" fmla="*/ 1026 w 8880"/>
              <a:gd name="T1" fmla="*/ 2537 h 2537"/>
              <a:gd name="T2" fmla="*/ 3177 w 8880"/>
              <a:gd name="T3" fmla="*/ 2109 h 2537"/>
              <a:gd name="T4" fmla="*/ 5328 w 8880"/>
              <a:gd name="T5" fmla="*/ 2537 h 2537"/>
              <a:gd name="T6" fmla="*/ 1026 w 8880"/>
              <a:gd name="T7" fmla="*/ 2537 h 2537"/>
              <a:gd name="T8" fmla="*/ 551 w 8880"/>
              <a:gd name="T9" fmla="*/ 2537 h 2537"/>
              <a:gd name="T10" fmla="*/ 5803 w 8880"/>
              <a:gd name="T11" fmla="*/ 2537 h 2537"/>
              <a:gd name="T12" fmla="*/ 5126 w 8880"/>
              <a:gd name="T13" fmla="*/ 2193 h 2537"/>
              <a:gd name="T14" fmla="*/ 5819 w 8880"/>
              <a:gd name="T15" fmla="*/ 2312 h 2537"/>
              <a:gd name="T16" fmla="*/ 6076 w 8880"/>
              <a:gd name="T17" fmla="*/ 2292 h 2537"/>
              <a:gd name="T18" fmla="*/ 6885 w 8880"/>
              <a:gd name="T19" fmla="*/ 2134 h 2537"/>
              <a:gd name="T20" fmla="*/ 7084 w 8880"/>
              <a:gd name="T21" fmla="*/ 2023 h 2537"/>
              <a:gd name="T22" fmla="*/ 7328 w 8880"/>
              <a:gd name="T23" fmla="*/ 1658 h 2537"/>
              <a:gd name="T24" fmla="*/ 7967 w 8880"/>
              <a:gd name="T25" fmla="*/ 1152 h 2537"/>
              <a:gd name="T26" fmla="*/ 7308 w 8880"/>
              <a:gd name="T27" fmla="*/ 767 h 2537"/>
              <a:gd name="T28" fmla="*/ 8655 w 8880"/>
              <a:gd name="T29" fmla="*/ 767 h 2537"/>
              <a:gd name="T30" fmla="*/ 7358 w 8880"/>
              <a:gd name="T31" fmla="*/ 2537 h 2537"/>
              <a:gd name="T32" fmla="*/ 8779 w 8880"/>
              <a:gd name="T33" fmla="*/ 2537 h 2537"/>
              <a:gd name="T34" fmla="*/ 8531 w 8880"/>
              <a:gd name="T35" fmla="*/ 1602 h 2537"/>
              <a:gd name="T36" fmla="*/ 8750 w 8880"/>
              <a:gd name="T37" fmla="*/ 767 h 2537"/>
              <a:gd name="T38" fmla="*/ 8750 w 8880"/>
              <a:gd name="T39" fmla="*/ 766 h 2537"/>
              <a:gd name="T40" fmla="*/ 7214 w 8880"/>
              <a:gd name="T41" fmla="*/ 767 h 2537"/>
              <a:gd name="T42" fmla="*/ 7328 w 8880"/>
              <a:gd name="T43" fmla="*/ 1564 h 2537"/>
              <a:gd name="T44" fmla="*/ 6553 w 8880"/>
              <a:gd name="T45" fmla="*/ 1470 h 2537"/>
              <a:gd name="T46" fmla="*/ 6728 w 8880"/>
              <a:gd name="T47" fmla="*/ 2030 h 2537"/>
              <a:gd name="T48" fmla="*/ 5637 w 8880"/>
              <a:gd name="T49" fmla="*/ 1694 h 2537"/>
              <a:gd name="T50" fmla="*/ 5695 w 8880"/>
              <a:gd name="T51" fmla="*/ 2144 h 2537"/>
              <a:gd name="T52" fmla="*/ 4646 w 8880"/>
              <a:gd name="T53" fmla="*/ 1410 h 2537"/>
              <a:gd name="T54" fmla="*/ 4777 w 8880"/>
              <a:gd name="T55" fmla="*/ 2054 h 2537"/>
              <a:gd name="T56" fmla="*/ 1225 w 8880"/>
              <a:gd name="T57" fmla="*/ 2195 h 2537"/>
              <a:gd name="T58" fmla="*/ 551 w 8880"/>
              <a:gd name="T59" fmla="*/ 2537 h 2537"/>
              <a:gd name="T60" fmla="*/ 4950 w 8880"/>
              <a:gd name="T61" fmla="*/ 1685 h 2537"/>
              <a:gd name="T62" fmla="*/ 4844 w 8880"/>
              <a:gd name="T63" fmla="*/ 1675 h 2537"/>
              <a:gd name="T64" fmla="*/ 5166 w 8880"/>
              <a:gd name="T65" fmla="*/ 2095 h 2537"/>
              <a:gd name="T66" fmla="*/ 4950 w 8880"/>
              <a:gd name="T67" fmla="*/ 1685 h 2537"/>
              <a:gd name="T68" fmla="*/ 6017 w 8880"/>
              <a:gd name="T69" fmla="*/ 1963 h 2537"/>
              <a:gd name="T70" fmla="*/ 5831 w 8880"/>
              <a:gd name="T71" fmla="*/ 1893 h 2537"/>
              <a:gd name="T72" fmla="*/ 5952 w 8880"/>
              <a:gd name="T73" fmla="*/ 2032 h 2537"/>
              <a:gd name="T74" fmla="*/ 8509 w 8880"/>
              <a:gd name="T75" fmla="*/ 766 h 2537"/>
              <a:gd name="T76" fmla="*/ 7454 w 8880"/>
              <a:gd name="T77" fmla="*/ 767 h 2537"/>
              <a:gd name="T78" fmla="*/ 8029 w 8880"/>
              <a:gd name="T79" fmla="*/ 767 h 2537"/>
              <a:gd name="T80" fmla="*/ 7934 w 8880"/>
              <a:gd name="T81" fmla="*/ 719 h 2537"/>
              <a:gd name="T82" fmla="*/ 7741 w 8880"/>
              <a:gd name="T83" fmla="*/ 959 h 2537"/>
              <a:gd name="T84" fmla="*/ 7982 w 8880"/>
              <a:gd name="T85" fmla="*/ 333 h 2537"/>
              <a:gd name="T86" fmla="*/ 7434 w 8880"/>
              <a:gd name="T87" fmla="*/ 2173 h 2537"/>
              <a:gd name="T88" fmla="*/ 7767 w 8880"/>
              <a:gd name="T89" fmla="*/ 1646 h 2537"/>
              <a:gd name="T90" fmla="*/ 6788 w 8880"/>
              <a:gd name="T91" fmla="*/ 1670 h 2537"/>
              <a:gd name="T92" fmla="*/ 6782 w 8880"/>
              <a:gd name="T93" fmla="*/ 1775 h 2537"/>
              <a:gd name="T94" fmla="*/ 8269 w 8880"/>
              <a:gd name="T95" fmla="*/ 767 h 2537"/>
              <a:gd name="T96" fmla="*/ 7694 w 8880"/>
              <a:gd name="T97" fmla="*/ 767 h 2537"/>
              <a:gd name="T98" fmla="*/ 7789 w 8880"/>
              <a:gd name="T99" fmla="*/ 814 h 2537"/>
              <a:gd name="T100" fmla="*/ 7982 w 8880"/>
              <a:gd name="T101" fmla="*/ 574 h 2537"/>
              <a:gd name="T102" fmla="*/ 7767 w 8880"/>
              <a:gd name="T103" fmla="*/ 1646 h 2537"/>
              <a:gd name="T104" fmla="*/ 1668 w 8880"/>
              <a:gd name="T105" fmla="*/ 2537 h 2537"/>
              <a:gd name="T106" fmla="*/ 3177 w 8880"/>
              <a:gd name="T107" fmla="*/ 2349 h 2537"/>
              <a:gd name="T108" fmla="*/ 4686 w 8880"/>
              <a:gd name="T109" fmla="*/ 2537 h 2537"/>
              <a:gd name="T110" fmla="*/ 1668 w 8880"/>
              <a:gd name="T111" fmla="*/ 2537 h 2537"/>
              <a:gd name="T112" fmla="*/ 8317 w 8880"/>
              <a:gd name="T113" fmla="*/ 2129 h 2537"/>
              <a:gd name="T114" fmla="*/ 8383 w 8880"/>
              <a:gd name="T115" fmla="*/ 2537 h 2537"/>
              <a:gd name="T116" fmla="*/ 7946 w 8880"/>
              <a:gd name="T117" fmla="*/ 2537 h 2537"/>
              <a:gd name="T118" fmla="*/ 8317 w 8880"/>
              <a:gd name="T119" fmla="*/ 2129 h 2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80" h="2537">
                <a:moveTo>
                  <a:pt x="1026" y="2537"/>
                </a:moveTo>
                <a:lnTo>
                  <a:pt x="1026" y="2537"/>
                </a:lnTo>
                <a:lnTo>
                  <a:pt x="1280" y="2537"/>
                </a:lnTo>
                <a:cubicBezTo>
                  <a:pt x="1783" y="2330"/>
                  <a:pt x="2286" y="2109"/>
                  <a:pt x="3177" y="2109"/>
                </a:cubicBezTo>
                <a:cubicBezTo>
                  <a:pt x="4068" y="2109"/>
                  <a:pt x="4571" y="2330"/>
                  <a:pt x="5074" y="2537"/>
                </a:cubicBezTo>
                <a:lnTo>
                  <a:pt x="5328" y="2537"/>
                </a:lnTo>
                <a:cubicBezTo>
                  <a:pt x="4739" y="2310"/>
                  <a:pt x="4220" y="2014"/>
                  <a:pt x="3177" y="2014"/>
                </a:cubicBezTo>
                <a:cubicBezTo>
                  <a:pt x="2134" y="2014"/>
                  <a:pt x="1616" y="2310"/>
                  <a:pt x="1026" y="2537"/>
                </a:cubicBezTo>
                <a:close/>
                <a:moveTo>
                  <a:pt x="551" y="2537"/>
                </a:moveTo>
                <a:lnTo>
                  <a:pt x="551" y="2537"/>
                </a:lnTo>
                <a:cubicBezTo>
                  <a:pt x="1357" y="2323"/>
                  <a:pt x="1850" y="1865"/>
                  <a:pt x="3177" y="1865"/>
                </a:cubicBezTo>
                <a:cubicBezTo>
                  <a:pt x="4504" y="1865"/>
                  <a:pt x="4997" y="2323"/>
                  <a:pt x="5803" y="2537"/>
                </a:cubicBezTo>
                <a:lnTo>
                  <a:pt x="6355" y="2537"/>
                </a:lnTo>
                <a:cubicBezTo>
                  <a:pt x="5856" y="2494"/>
                  <a:pt x="5499" y="2347"/>
                  <a:pt x="5126" y="2193"/>
                </a:cubicBezTo>
                <a:cubicBezTo>
                  <a:pt x="4805" y="2061"/>
                  <a:pt x="4743" y="1856"/>
                  <a:pt x="4741" y="1506"/>
                </a:cubicBezTo>
                <a:cubicBezTo>
                  <a:pt x="5184" y="1543"/>
                  <a:pt x="5285" y="2106"/>
                  <a:pt x="5819" y="2312"/>
                </a:cubicBezTo>
                <a:cubicBezTo>
                  <a:pt x="5988" y="2382"/>
                  <a:pt x="6169" y="2413"/>
                  <a:pt x="6336" y="2426"/>
                </a:cubicBezTo>
                <a:cubicBezTo>
                  <a:pt x="6245" y="2391"/>
                  <a:pt x="6158" y="2346"/>
                  <a:pt x="6076" y="2292"/>
                </a:cubicBezTo>
                <a:cubicBezTo>
                  <a:pt x="5858" y="2243"/>
                  <a:pt x="5737" y="2200"/>
                  <a:pt x="5732" y="1790"/>
                </a:cubicBezTo>
                <a:cubicBezTo>
                  <a:pt x="6266" y="1807"/>
                  <a:pt x="6287" y="2134"/>
                  <a:pt x="6885" y="2134"/>
                </a:cubicBezTo>
                <a:cubicBezTo>
                  <a:pt x="7071" y="2134"/>
                  <a:pt x="7249" y="2097"/>
                  <a:pt x="7411" y="2031"/>
                </a:cubicBezTo>
                <a:cubicBezTo>
                  <a:pt x="7310" y="2043"/>
                  <a:pt x="7212" y="2044"/>
                  <a:pt x="7084" y="2023"/>
                </a:cubicBezTo>
                <a:cubicBezTo>
                  <a:pt x="6781" y="2069"/>
                  <a:pt x="6661" y="1870"/>
                  <a:pt x="6649" y="1565"/>
                </a:cubicBezTo>
                <a:cubicBezTo>
                  <a:pt x="6966" y="1573"/>
                  <a:pt x="7084" y="1658"/>
                  <a:pt x="7328" y="1658"/>
                </a:cubicBezTo>
                <a:cubicBezTo>
                  <a:pt x="7568" y="1658"/>
                  <a:pt x="7788" y="1505"/>
                  <a:pt x="7918" y="1249"/>
                </a:cubicBezTo>
                <a:lnTo>
                  <a:pt x="7967" y="1152"/>
                </a:lnTo>
                <a:lnTo>
                  <a:pt x="7862" y="1183"/>
                </a:lnTo>
                <a:cubicBezTo>
                  <a:pt x="7585" y="1263"/>
                  <a:pt x="7308" y="1054"/>
                  <a:pt x="7308" y="767"/>
                </a:cubicBezTo>
                <a:cubicBezTo>
                  <a:pt x="7308" y="395"/>
                  <a:pt x="7610" y="93"/>
                  <a:pt x="7982" y="93"/>
                </a:cubicBezTo>
                <a:cubicBezTo>
                  <a:pt x="8353" y="93"/>
                  <a:pt x="8655" y="395"/>
                  <a:pt x="8655" y="767"/>
                </a:cubicBezTo>
                <a:cubicBezTo>
                  <a:pt x="8655" y="1678"/>
                  <a:pt x="7887" y="2431"/>
                  <a:pt x="6900" y="2537"/>
                </a:cubicBezTo>
                <a:lnTo>
                  <a:pt x="7358" y="2537"/>
                </a:lnTo>
                <a:cubicBezTo>
                  <a:pt x="7828" y="2387"/>
                  <a:pt x="8221" y="2089"/>
                  <a:pt x="8468" y="1706"/>
                </a:cubicBezTo>
                <a:lnTo>
                  <a:pt x="8779" y="2537"/>
                </a:lnTo>
                <a:lnTo>
                  <a:pt x="8880" y="2537"/>
                </a:lnTo>
                <a:lnTo>
                  <a:pt x="8531" y="1602"/>
                </a:lnTo>
                <a:cubicBezTo>
                  <a:pt x="8670" y="1350"/>
                  <a:pt x="8749" y="1067"/>
                  <a:pt x="8750" y="767"/>
                </a:cubicBezTo>
                <a:lnTo>
                  <a:pt x="8750" y="767"/>
                </a:lnTo>
                <a:lnTo>
                  <a:pt x="8750" y="766"/>
                </a:lnTo>
                <a:lnTo>
                  <a:pt x="8750" y="766"/>
                </a:lnTo>
                <a:cubicBezTo>
                  <a:pt x="8749" y="343"/>
                  <a:pt x="8405" y="0"/>
                  <a:pt x="7982" y="0"/>
                </a:cubicBezTo>
                <a:cubicBezTo>
                  <a:pt x="7558" y="0"/>
                  <a:pt x="7214" y="343"/>
                  <a:pt x="7214" y="767"/>
                </a:cubicBezTo>
                <a:cubicBezTo>
                  <a:pt x="7214" y="1073"/>
                  <a:pt x="7475" y="1317"/>
                  <a:pt x="7783" y="1293"/>
                </a:cubicBezTo>
                <a:cubicBezTo>
                  <a:pt x="7669" y="1464"/>
                  <a:pt x="7504" y="1564"/>
                  <a:pt x="7328" y="1564"/>
                </a:cubicBezTo>
                <a:cubicBezTo>
                  <a:pt x="7089" y="1564"/>
                  <a:pt x="6965" y="1470"/>
                  <a:pt x="6600" y="1470"/>
                </a:cubicBezTo>
                <a:lnTo>
                  <a:pt x="6553" y="1470"/>
                </a:lnTo>
                <a:lnTo>
                  <a:pt x="6553" y="1517"/>
                </a:lnTo>
                <a:cubicBezTo>
                  <a:pt x="6553" y="1752"/>
                  <a:pt x="6614" y="1929"/>
                  <a:pt x="6728" y="2030"/>
                </a:cubicBezTo>
                <a:cubicBezTo>
                  <a:pt x="6299" y="1976"/>
                  <a:pt x="6239" y="1694"/>
                  <a:pt x="5684" y="1694"/>
                </a:cubicBezTo>
                <a:lnTo>
                  <a:pt x="5637" y="1694"/>
                </a:lnTo>
                <a:lnTo>
                  <a:pt x="5637" y="1742"/>
                </a:lnTo>
                <a:cubicBezTo>
                  <a:pt x="5637" y="1885"/>
                  <a:pt x="5644" y="2029"/>
                  <a:pt x="5695" y="2144"/>
                </a:cubicBezTo>
                <a:cubicBezTo>
                  <a:pt x="5303" y="1896"/>
                  <a:pt x="5177" y="1410"/>
                  <a:pt x="4693" y="1410"/>
                </a:cubicBezTo>
                <a:lnTo>
                  <a:pt x="4646" y="1410"/>
                </a:lnTo>
                <a:lnTo>
                  <a:pt x="4646" y="1457"/>
                </a:lnTo>
                <a:cubicBezTo>
                  <a:pt x="4646" y="1642"/>
                  <a:pt x="4647" y="1873"/>
                  <a:pt x="4777" y="2054"/>
                </a:cubicBezTo>
                <a:cubicBezTo>
                  <a:pt x="4366" y="1899"/>
                  <a:pt x="3892" y="1770"/>
                  <a:pt x="3177" y="1770"/>
                </a:cubicBezTo>
                <a:cubicBezTo>
                  <a:pt x="2252" y="1770"/>
                  <a:pt x="1730" y="1986"/>
                  <a:pt x="1225" y="2195"/>
                </a:cubicBezTo>
                <a:cubicBezTo>
                  <a:pt x="853" y="2348"/>
                  <a:pt x="498" y="2494"/>
                  <a:pt x="0" y="2537"/>
                </a:cubicBezTo>
                <a:lnTo>
                  <a:pt x="551" y="2537"/>
                </a:lnTo>
                <a:close/>
                <a:moveTo>
                  <a:pt x="4950" y="1685"/>
                </a:moveTo>
                <a:lnTo>
                  <a:pt x="4950" y="1685"/>
                </a:lnTo>
                <a:cubicBezTo>
                  <a:pt x="4915" y="1658"/>
                  <a:pt x="4879" y="1638"/>
                  <a:pt x="4839" y="1623"/>
                </a:cubicBezTo>
                <a:cubicBezTo>
                  <a:pt x="4841" y="1641"/>
                  <a:pt x="4842" y="1658"/>
                  <a:pt x="4844" y="1675"/>
                </a:cubicBezTo>
                <a:cubicBezTo>
                  <a:pt x="4906" y="1825"/>
                  <a:pt x="4997" y="1958"/>
                  <a:pt x="5110" y="2072"/>
                </a:cubicBezTo>
                <a:cubicBezTo>
                  <a:pt x="5128" y="2079"/>
                  <a:pt x="5148" y="2087"/>
                  <a:pt x="5166" y="2095"/>
                </a:cubicBezTo>
                <a:cubicBezTo>
                  <a:pt x="5255" y="2131"/>
                  <a:pt x="5343" y="2168"/>
                  <a:pt x="5432" y="2202"/>
                </a:cubicBezTo>
                <a:cubicBezTo>
                  <a:pt x="5223" y="2082"/>
                  <a:pt x="5052" y="1903"/>
                  <a:pt x="4950" y="1685"/>
                </a:cubicBezTo>
                <a:close/>
                <a:moveTo>
                  <a:pt x="6017" y="1963"/>
                </a:moveTo>
                <a:lnTo>
                  <a:pt x="6017" y="1963"/>
                </a:lnTo>
                <a:cubicBezTo>
                  <a:pt x="6008" y="1955"/>
                  <a:pt x="5995" y="1942"/>
                  <a:pt x="5981" y="1926"/>
                </a:cubicBezTo>
                <a:cubicBezTo>
                  <a:pt x="5936" y="1912"/>
                  <a:pt x="5888" y="1900"/>
                  <a:pt x="5831" y="1893"/>
                </a:cubicBezTo>
                <a:cubicBezTo>
                  <a:pt x="5831" y="1893"/>
                  <a:pt x="5831" y="1894"/>
                  <a:pt x="5831" y="1894"/>
                </a:cubicBezTo>
                <a:cubicBezTo>
                  <a:pt x="5882" y="1965"/>
                  <a:pt x="5942" y="2022"/>
                  <a:pt x="5952" y="2032"/>
                </a:cubicBezTo>
                <a:cubicBezTo>
                  <a:pt x="6348" y="2409"/>
                  <a:pt x="6915" y="2499"/>
                  <a:pt x="7471" y="2260"/>
                </a:cubicBezTo>
                <a:cubicBezTo>
                  <a:pt x="8092" y="1994"/>
                  <a:pt x="8509" y="1394"/>
                  <a:pt x="8509" y="766"/>
                </a:cubicBezTo>
                <a:cubicBezTo>
                  <a:pt x="8509" y="476"/>
                  <a:pt x="8273" y="239"/>
                  <a:pt x="7982" y="239"/>
                </a:cubicBezTo>
                <a:cubicBezTo>
                  <a:pt x="7691" y="239"/>
                  <a:pt x="7454" y="476"/>
                  <a:pt x="7454" y="767"/>
                </a:cubicBezTo>
                <a:cubicBezTo>
                  <a:pt x="7454" y="925"/>
                  <a:pt x="7583" y="1054"/>
                  <a:pt x="7741" y="1054"/>
                </a:cubicBezTo>
                <a:cubicBezTo>
                  <a:pt x="7900" y="1054"/>
                  <a:pt x="8029" y="925"/>
                  <a:pt x="8029" y="767"/>
                </a:cubicBezTo>
                <a:lnTo>
                  <a:pt x="8029" y="719"/>
                </a:lnTo>
                <a:lnTo>
                  <a:pt x="7934" y="719"/>
                </a:lnTo>
                <a:lnTo>
                  <a:pt x="7934" y="767"/>
                </a:lnTo>
                <a:cubicBezTo>
                  <a:pt x="7934" y="873"/>
                  <a:pt x="7848" y="959"/>
                  <a:pt x="7741" y="959"/>
                </a:cubicBezTo>
                <a:cubicBezTo>
                  <a:pt x="7635" y="959"/>
                  <a:pt x="7548" y="873"/>
                  <a:pt x="7548" y="767"/>
                </a:cubicBezTo>
                <a:cubicBezTo>
                  <a:pt x="7548" y="528"/>
                  <a:pt x="7743" y="333"/>
                  <a:pt x="7982" y="333"/>
                </a:cubicBezTo>
                <a:cubicBezTo>
                  <a:pt x="8220" y="333"/>
                  <a:pt x="8415" y="528"/>
                  <a:pt x="8415" y="767"/>
                </a:cubicBezTo>
                <a:cubicBezTo>
                  <a:pt x="8415" y="1356"/>
                  <a:pt x="8021" y="1922"/>
                  <a:pt x="7434" y="2173"/>
                </a:cubicBezTo>
                <a:cubicBezTo>
                  <a:pt x="6918" y="2395"/>
                  <a:pt x="6389" y="2316"/>
                  <a:pt x="6017" y="1963"/>
                </a:cubicBezTo>
                <a:close/>
                <a:moveTo>
                  <a:pt x="7767" y="1646"/>
                </a:moveTo>
                <a:lnTo>
                  <a:pt x="7767" y="1646"/>
                </a:lnTo>
                <a:cubicBezTo>
                  <a:pt x="7417" y="1903"/>
                  <a:pt x="6998" y="1798"/>
                  <a:pt x="6788" y="1670"/>
                </a:cubicBezTo>
                <a:cubicBezTo>
                  <a:pt x="6776" y="1669"/>
                  <a:pt x="6765" y="1667"/>
                  <a:pt x="6753" y="1666"/>
                </a:cubicBezTo>
                <a:cubicBezTo>
                  <a:pt x="6760" y="1707"/>
                  <a:pt x="6769" y="1743"/>
                  <a:pt x="6782" y="1775"/>
                </a:cubicBezTo>
                <a:cubicBezTo>
                  <a:pt x="7085" y="1938"/>
                  <a:pt x="7503" y="1957"/>
                  <a:pt x="7823" y="1723"/>
                </a:cubicBezTo>
                <a:cubicBezTo>
                  <a:pt x="8102" y="1518"/>
                  <a:pt x="8269" y="1160"/>
                  <a:pt x="8269" y="767"/>
                </a:cubicBezTo>
                <a:cubicBezTo>
                  <a:pt x="8269" y="608"/>
                  <a:pt x="8140" y="479"/>
                  <a:pt x="7982" y="479"/>
                </a:cubicBezTo>
                <a:cubicBezTo>
                  <a:pt x="7823" y="479"/>
                  <a:pt x="7694" y="608"/>
                  <a:pt x="7694" y="767"/>
                </a:cubicBezTo>
                <a:lnTo>
                  <a:pt x="7694" y="814"/>
                </a:lnTo>
                <a:lnTo>
                  <a:pt x="7789" y="814"/>
                </a:lnTo>
                <a:lnTo>
                  <a:pt x="7789" y="767"/>
                </a:lnTo>
                <a:cubicBezTo>
                  <a:pt x="7789" y="660"/>
                  <a:pt x="7875" y="574"/>
                  <a:pt x="7982" y="574"/>
                </a:cubicBezTo>
                <a:cubicBezTo>
                  <a:pt x="8088" y="574"/>
                  <a:pt x="8174" y="660"/>
                  <a:pt x="8174" y="767"/>
                </a:cubicBezTo>
                <a:cubicBezTo>
                  <a:pt x="8174" y="1130"/>
                  <a:pt x="8022" y="1459"/>
                  <a:pt x="7767" y="1646"/>
                </a:cubicBezTo>
                <a:close/>
                <a:moveTo>
                  <a:pt x="1668" y="2537"/>
                </a:moveTo>
                <a:lnTo>
                  <a:pt x="1668" y="2537"/>
                </a:lnTo>
                <a:lnTo>
                  <a:pt x="1950" y="2537"/>
                </a:lnTo>
                <a:cubicBezTo>
                  <a:pt x="2282" y="2429"/>
                  <a:pt x="2664" y="2349"/>
                  <a:pt x="3177" y="2349"/>
                </a:cubicBezTo>
                <a:cubicBezTo>
                  <a:pt x="3690" y="2349"/>
                  <a:pt x="4072" y="2429"/>
                  <a:pt x="4404" y="2537"/>
                </a:cubicBezTo>
                <a:lnTo>
                  <a:pt x="4686" y="2537"/>
                </a:lnTo>
                <a:cubicBezTo>
                  <a:pt x="4288" y="2384"/>
                  <a:pt x="3842" y="2254"/>
                  <a:pt x="3177" y="2254"/>
                </a:cubicBezTo>
                <a:cubicBezTo>
                  <a:pt x="2512" y="2254"/>
                  <a:pt x="2067" y="2384"/>
                  <a:pt x="1668" y="2537"/>
                </a:cubicBezTo>
                <a:close/>
                <a:moveTo>
                  <a:pt x="8317" y="2129"/>
                </a:moveTo>
                <a:lnTo>
                  <a:pt x="8317" y="2129"/>
                </a:lnTo>
                <a:lnTo>
                  <a:pt x="8485" y="2537"/>
                </a:lnTo>
                <a:lnTo>
                  <a:pt x="8383" y="2537"/>
                </a:lnTo>
                <a:lnTo>
                  <a:pt x="8281" y="2291"/>
                </a:lnTo>
                <a:cubicBezTo>
                  <a:pt x="8177" y="2384"/>
                  <a:pt x="8065" y="2466"/>
                  <a:pt x="7946" y="2537"/>
                </a:cubicBezTo>
                <a:lnTo>
                  <a:pt x="7748" y="2537"/>
                </a:lnTo>
                <a:cubicBezTo>
                  <a:pt x="7947" y="2434"/>
                  <a:pt x="8137" y="2298"/>
                  <a:pt x="8317" y="2129"/>
                </a:cubicBezTo>
                <a:close/>
              </a:path>
            </a:pathLst>
          </a:custGeom>
          <a:solidFill>
            <a:srgbClr val="D9D9D6">
              <a:alpha val="25000"/>
            </a:srgbClr>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607568" y="6091937"/>
            <a:ext cx="467360" cy="462279"/>
          </a:xfrm>
          <a:prstGeom prst="rect">
            <a:avLst/>
          </a:prstGeom>
        </p:spPr>
      </p:pic>
      <p:sp>
        <p:nvSpPr>
          <p:cNvPr id="4" name="object 4"/>
          <p:cNvSpPr txBox="1">
            <a:spLocks noGrp="1"/>
          </p:cNvSpPr>
          <p:nvPr>
            <p:ph type="body" idx="1"/>
          </p:nvPr>
        </p:nvSpPr>
        <p:spPr>
          <a:xfrm>
            <a:off x="4023360" y="1475036"/>
            <a:ext cx="7665466" cy="3895083"/>
          </a:xfrm>
          <a:prstGeom prst="rect">
            <a:avLst/>
          </a:prstGeom>
        </p:spPr>
        <p:txBody>
          <a:bodyPr vert="horz" wrap="square" lIns="0" tIns="16933" rIns="0" bIns="0" rtlCol="0">
            <a:spAutoFit/>
          </a:bodyPr>
          <a:lstStyle/>
          <a:p>
            <a:pPr marL="358986" marR="6773" indent="-342900">
              <a:buSzPct val="86000"/>
              <a:buFont typeface="Arial" panose="020B0604020202020204" pitchFamily="34" charset="0"/>
              <a:buChar char="•"/>
              <a:tabLst>
                <a:tab pos="247220" algn="l"/>
              </a:tabLst>
            </a:pPr>
            <a:r>
              <a:rPr lang="en-GB" sz="1800">
                <a:latin typeface="BentonSans Light" panose="02000503000000020004" pitchFamily="2" charset="0"/>
              </a:rPr>
              <a:t>Not </a:t>
            </a:r>
            <a:r>
              <a:rPr lang="en-GB" sz="1800">
                <a:solidFill>
                  <a:srgbClr val="0070C0"/>
                </a:solidFill>
                <a:latin typeface="BentonSans Medium" panose="02000603000000020004" pitchFamily="2" charset="0"/>
              </a:rPr>
              <a:t>interested</a:t>
            </a:r>
            <a:r>
              <a:rPr lang="en-GB" sz="1800">
                <a:latin typeface="BentonSans Light" panose="02000503000000020004" pitchFamily="2" charset="0"/>
              </a:rPr>
              <a:t> in the work? Not </a:t>
            </a:r>
            <a:r>
              <a:rPr lang="en-GB" sz="1800">
                <a:solidFill>
                  <a:srgbClr val="0070C0"/>
                </a:solidFill>
                <a:latin typeface="BentonSans Medium" panose="02000603000000020004" pitchFamily="2" charset="0"/>
              </a:rPr>
              <a:t>engaged</a:t>
            </a:r>
            <a:r>
              <a:rPr lang="en-GB" sz="1800">
                <a:latin typeface="BentonSans Light" panose="02000503000000020004" pitchFamily="2" charset="0"/>
              </a:rPr>
              <a:t>? Doesn’t </a:t>
            </a:r>
            <a:r>
              <a:rPr lang="en-GB" sz="1800">
                <a:solidFill>
                  <a:srgbClr val="0070C0"/>
                </a:solidFill>
                <a:latin typeface="BentonSans Medium" panose="02000603000000020004" pitchFamily="2" charset="0"/>
              </a:rPr>
              <a:t>understand</a:t>
            </a:r>
            <a:r>
              <a:rPr lang="en-GB" sz="1800">
                <a:latin typeface="BentonSans Light" panose="02000503000000020004" pitchFamily="2" charset="0"/>
              </a:rPr>
              <a:t>? Not </a:t>
            </a:r>
            <a:r>
              <a:rPr lang="en-GB" sz="1800">
                <a:solidFill>
                  <a:srgbClr val="0070C0"/>
                </a:solidFill>
                <a:latin typeface="BentonSans Medium" panose="02000603000000020004" pitchFamily="2" charset="0"/>
              </a:rPr>
              <a:t>invested</a:t>
            </a:r>
            <a:r>
              <a:rPr lang="en-GB" sz="1800">
                <a:latin typeface="BentonSans Light" panose="02000503000000020004" pitchFamily="2" charset="0"/>
              </a:rPr>
              <a:t>?</a:t>
            </a:r>
          </a:p>
          <a:p>
            <a:pPr marL="358986" marR="6773" indent="-342900">
              <a:buSzPct val="86000"/>
              <a:buFont typeface="Arial" panose="020B0604020202020204" pitchFamily="34" charset="0"/>
              <a:buChar char="•"/>
              <a:tabLst>
                <a:tab pos="247220" algn="l"/>
              </a:tabLst>
            </a:pPr>
            <a:endParaRPr lang="en-GB" sz="1800">
              <a:latin typeface="BentonSans Light" panose="02000503000000020004" pitchFamily="2" charset="0"/>
            </a:endParaRPr>
          </a:p>
          <a:p>
            <a:pPr marL="358986" marR="6773" indent="-342900">
              <a:buSzPct val="86000"/>
              <a:buFont typeface="Arial" panose="020B0604020202020204" pitchFamily="34" charset="0"/>
              <a:buChar char="•"/>
              <a:tabLst>
                <a:tab pos="247220" algn="l"/>
              </a:tabLst>
            </a:pPr>
            <a:r>
              <a:rPr lang="en-GB" sz="1800">
                <a:latin typeface="BentonSans Light" panose="02000503000000020004" pitchFamily="2" charset="0"/>
              </a:rPr>
              <a:t>Practice of </a:t>
            </a:r>
            <a:r>
              <a:rPr lang="en-GB" sz="1800">
                <a:solidFill>
                  <a:srgbClr val="0070C0"/>
                </a:solidFill>
                <a:latin typeface="BentonSans Medium" panose="02000603000000020004" pitchFamily="2" charset="0"/>
              </a:rPr>
              <a:t>law is an apprenticeship</a:t>
            </a:r>
          </a:p>
          <a:p>
            <a:pPr marL="358986" marR="6773" indent="-342900">
              <a:buSzPct val="86000"/>
              <a:buFont typeface="Arial" panose="020B0604020202020204" pitchFamily="34" charset="0"/>
              <a:buChar char="•"/>
              <a:tabLst>
                <a:tab pos="247220" algn="l"/>
              </a:tabLst>
            </a:pPr>
            <a:endParaRPr lang="en-GB" sz="1800">
              <a:latin typeface="BentonSans Light" panose="02000503000000020004" pitchFamily="2" charset="0"/>
            </a:endParaRPr>
          </a:p>
          <a:p>
            <a:pPr marL="358986" marR="6773" indent="-342900">
              <a:buSzPct val="86000"/>
              <a:buFont typeface="Arial" panose="020B0604020202020204" pitchFamily="34" charset="0"/>
              <a:buChar char="•"/>
              <a:tabLst>
                <a:tab pos="247220" algn="l"/>
              </a:tabLst>
            </a:pPr>
            <a:r>
              <a:rPr lang="en-GB" sz="1800">
                <a:latin typeface="BentonSans Light" panose="02000503000000020004" pitchFamily="2" charset="0"/>
              </a:rPr>
              <a:t>Fear of asking a dumb question – </a:t>
            </a:r>
            <a:r>
              <a:rPr lang="en-GB" sz="1800">
                <a:solidFill>
                  <a:srgbClr val="0070C0"/>
                </a:solidFill>
                <a:latin typeface="BentonSans Medium" panose="02000603000000020004" pitchFamily="2" charset="0"/>
              </a:rPr>
              <a:t>afraid of being vulnerable</a:t>
            </a:r>
          </a:p>
          <a:p>
            <a:pPr marL="358986" marR="6773" indent="-342900">
              <a:buSzPct val="86000"/>
              <a:buFont typeface="Arial" panose="020B0604020202020204" pitchFamily="34" charset="0"/>
              <a:buChar char="•"/>
              <a:tabLst>
                <a:tab pos="247220" algn="l"/>
              </a:tabLst>
            </a:pPr>
            <a:endParaRPr lang="en-GB" sz="1800">
              <a:latin typeface="BentonSans Light" panose="02000503000000020004" pitchFamily="2" charset="0"/>
            </a:endParaRPr>
          </a:p>
          <a:p>
            <a:pPr marL="358986" marR="6773" indent="-342900">
              <a:buSzPct val="86000"/>
              <a:buFont typeface="Arial" panose="020B0604020202020204" pitchFamily="34" charset="0"/>
              <a:buChar char="•"/>
              <a:tabLst>
                <a:tab pos="247220" algn="l"/>
              </a:tabLst>
            </a:pPr>
            <a:r>
              <a:rPr lang="en-GB" sz="1800">
                <a:latin typeface="BentonSans Light" panose="02000503000000020004" pitchFamily="2" charset="0"/>
              </a:rPr>
              <a:t>If people are scared or intimidated from asking questions or speaking up, they miss out on opportunities to learn, but </a:t>
            </a:r>
            <a:r>
              <a:rPr lang="en-GB" sz="1800">
                <a:solidFill>
                  <a:srgbClr val="0070C0"/>
                </a:solidFill>
                <a:latin typeface="BentonSans Medium" panose="02000603000000020004" pitchFamily="2" charset="0"/>
              </a:rPr>
              <a:t>leaders also miss out </a:t>
            </a:r>
            <a:r>
              <a:rPr lang="en-GB" sz="1800">
                <a:latin typeface="BentonSans Light" panose="02000503000000020004" pitchFamily="2" charset="0"/>
              </a:rPr>
              <a:t>on the benefit of another smart mind looking at a problem or issue</a:t>
            </a:r>
          </a:p>
          <a:p>
            <a:pPr marL="358986" marR="6773" indent="-342900">
              <a:buSzPct val="86000"/>
              <a:buFont typeface="Arial" panose="020B0604020202020204" pitchFamily="34" charset="0"/>
              <a:buChar char="•"/>
              <a:tabLst>
                <a:tab pos="247220" algn="l"/>
              </a:tabLst>
            </a:pPr>
            <a:endParaRPr lang="en-GB" sz="1800">
              <a:latin typeface="BentonSans Light" panose="02000503000000020004" pitchFamily="2" charset="0"/>
            </a:endParaRPr>
          </a:p>
          <a:p>
            <a:pPr marL="358986" marR="6773" indent="-342900">
              <a:buSzPct val="86000"/>
              <a:buFont typeface="Arial" panose="020B0604020202020204" pitchFamily="34" charset="0"/>
              <a:buChar char="•"/>
              <a:tabLst>
                <a:tab pos="247220" algn="l"/>
              </a:tabLst>
            </a:pPr>
            <a:r>
              <a:rPr lang="en-GB" sz="1800">
                <a:latin typeface="BentonSans Light" panose="02000503000000020004" pitchFamily="2" charset="0"/>
              </a:rPr>
              <a:t>How do we </a:t>
            </a:r>
            <a:r>
              <a:rPr lang="en-GB" sz="1800">
                <a:solidFill>
                  <a:srgbClr val="0070C0"/>
                </a:solidFill>
                <a:latin typeface="BentonSans Medium" panose="02000603000000020004" pitchFamily="2" charset="0"/>
              </a:rPr>
              <a:t>act like an owner </a:t>
            </a:r>
            <a:r>
              <a:rPr lang="en-GB" sz="1800">
                <a:latin typeface="BentonSans Light" panose="02000503000000020004" pitchFamily="2" charset="0"/>
              </a:rPr>
              <a:t>and be actively invested in the outcome</a:t>
            </a:r>
          </a:p>
          <a:p>
            <a:pPr marL="358986" marR="6773" indent="-342900">
              <a:buSzPct val="86000"/>
              <a:buFont typeface="Arial" panose="020B0604020202020204" pitchFamily="34" charset="0"/>
              <a:buChar char="•"/>
              <a:tabLst>
                <a:tab pos="247220" algn="l"/>
              </a:tabLst>
            </a:pPr>
            <a:endParaRPr lang="en-GB" sz="1800">
              <a:latin typeface="BentonSans Light" panose="02000503000000020004" pitchFamily="2" charset="0"/>
            </a:endParaRPr>
          </a:p>
          <a:p>
            <a:pPr marL="358986" marR="6773" indent="-342900">
              <a:buSzPct val="86000"/>
              <a:buFont typeface="Arial" panose="020B0604020202020204" pitchFamily="34" charset="0"/>
              <a:buChar char="•"/>
              <a:tabLst>
                <a:tab pos="247220" algn="l"/>
              </a:tabLst>
            </a:pPr>
            <a:r>
              <a:rPr lang="en-GB" sz="1800">
                <a:latin typeface="BentonSans Light" panose="02000503000000020004" pitchFamily="2" charset="0"/>
              </a:rPr>
              <a:t>We </a:t>
            </a:r>
            <a:r>
              <a:rPr lang="en-GB" sz="1800" i="1">
                <a:latin typeface="BentonSans Light" panose="02000503000000020004" pitchFamily="2" charset="0"/>
              </a:rPr>
              <a:t>all</a:t>
            </a:r>
            <a:r>
              <a:rPr lang="en-GB" sz="1800">
                <a:latin typeface="BentonSans Light" panose="02000503000000020004" pitchFamily="2" charset="0"/>
              </a:rPr>
              <a:t> feel like the </a:t>
            </a:r>
            <a:r>
              <a:rPr lang="en-GB" sz="1800">
                <a:solidFill>
                  <a:srgbClr val="0070C0"/>
                </a:solidFill>
                <a:latin typeface="BentonSans Medium" panose="02000603000000020004" pitchFamily="2" charset="0"/>
              </a:rPr>
              <a:t>junior associate </a:t>
            </a:r>
            <a:r>
              <a:rPr lang="en-GB" sz="1800">
                <a:latin typeface="BentonSans Light" panose="02000503000000020004" pitchFamily="2" charset="0"/>
              </a:rPr>
              <a:t>sometimes</a:t>
            </a:r>
            <a:endParaRPr lang="en-GB" sz="1800" spc="-13">
              <a:latin typeface="BentonSans Light" panose="02000503000000020004" pitchFamily="2" charset="0"/>
            </a:endParaRPr>
          </a:p>
        </p:txBody>
      </p:sp>
      <p:sp>
        <p:nvSpPr>
          <p:cNvPr id="11" name="Title 3">
            <a:extLst>
              <a:ext uri="{FF2B5EF4-FFF2-40B4-BE49-F238E27FC236}">
                <a16:creationId xmlns:a16="http://schemas.microsoft.com/office/drawing/2014/main" id="{60271F73-D2A3-DDD6-D4CF-BDF8419A2937}"/>
              </a:ext>
            </a:extLst>
          </p:cNvPr>
          <p:cNvSpPr txBox="1">
            <a:spLocks/>
          </p:cNvSpPr>
          <p:nvPr/>
        </p:nvSpPr>
        <p:spPr>
          <a:xfrm>
            <a:off x="503175" y="199987"/>
            <a:ext cx="11185650" cy="911860"/>
          </a:xfrm>
          <a:prstGeom prst="rect">
            <a:avLst/>
          </a:prstGeom>
        </p:spPr>
        <p:txBody>
          <a:bodyPr vert="horz" lIns="0" tIns="0" rIns="0" bIns="0" rtlCol="0" anchor="ctr" anchorCtr="0">
            <a:noAutofit/>
          </a:bodyPr>
          <a:lstStyle>
            <a:lvl1pPr algn="l" defTabSz="685800" rtl="0" eaLnBrk="1" latinLnBrk="0" hangingPunct="1">
              <a:lnSpc>
                <a:spcPct val="90000"/>
              </a:lnSpc>
              <a:spcBef>
                <a:spcPct val="0"/>
              </a:spcBef>
              <a:buNone/>
              <a:defRPr sz="2400" kern="1200" spc="-40" baseline="0">
                <a:solidFill>
                  <a:schemeClr val="bg2"/>
                </a:solidFill>
                <a:latin typeface="+mj-lt"/>
                <a:ea typeface="+mj-ea"/>
                <a:cs typeface="+mj-cs"/>
              </a:defRPr>
            </a:lvl1pPr>
          </a:lstStyle>
          <a:p>
            <a:pPr marL="0" marR="0" lvl="0" indent="0" algn="ctr" defTabSz="91437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53" normalizeH="0" baseline="0" noProof="0">
                <a:ln>
                  <a:noFill/>
                </a:ln>
                <a:solidFill>
                  <a:srgbClr val="006FCF"/>
                </a:solidFill>
                <a:effectLst/>
                <a:uLnTx/>
                <a:uFillTx/>
                <a:latin typeface="BentonSans Light" panose="02000503000000020004" pitchFamily="2" charset="0"/>
                <a:ea typeface="+mj-ea"/>
                <a:cs typeface="+mj-cs"/>
              </a:rPr>
              <a:t>A couple of examples – “The Junior Associate”</a:t>
            </a:r>
          </a:p>
        </p:txBody>
      </p:sp>
      <p:sp>
        <p:nvSpPr>
          <p:cNvPr id="12" name="Freeform 8">
            <a:extLst>
              <a:ext uri="{FF2B5EF4-FFF2-40B4-BE49-F238E27FC236}">
                <a16:creationId xmlns:a16="http://schemas.microsoft.com/office/drawing/2014/main" id="{E6336F30-1C22-1DB5-E65D-2D2C0BFEE09F}"/>
              </a:ext>
            </a:extLst>
          </p:cNvPr>
          <p:cNvSpPr>
            <a:spLocks noChangeAspect="1" noEditPoints="1"/>
          </p:cNvSpPr>
          <p:nvPr/>
        </p:nvSpPr>
        <p:spPr bwMode="hidden">
          <a:xfrm>
            <a:off x="6386282" y="5240867"/>
            <a:ext cx="5647267" cy="1617133"/>
          </a:xfrm>
          <a:custGeom>
            <a:avLst/>
            <a:gdLst>
              <a:gd name="T0" fmla="*/ 1026 w 8880"/>
              <a:gd name="T1" fmla="*/ 2537 h 2537"/>
              <a:gd name="T2" fmla="*/ 3177 w 8880"/>
              <a:gd name="T3" fmla="*/ 2109 h 2537"/>
              <a:gd name="T4" fmla="*/ 5328 w 8880"/>
              <a:gd name="T5" fmla="*/ 2537 h 2537"/>
              <a:gd name="T6" fmla="*/ 1026 w 8880"/>
              <a:gd name="T7" fmla="*/ 2537 h 2537"/>
              <a:gd name="T8" fmla="*/ 551 w 8880"/>
              <a:gd name="T9" fmla="*/ 2537 h 2537"/>
              <a:gd name="T10" fmla="*/ 5803 w 8880"/>
              <a:gd name="T11" fmla="*/ 2537 h 2537"/>
              <a:gd name="T12" fmla="*/ 5126 w 8880"/>
              <a:gd name="T13" fmla="*/ 2193 h 2537"/>
              <a:gd name="T14" fmla="*/ 5819 w 8880"/>
              <a:gd name="T15" fmla="*/ 2312 h 2537"/>
              <a:gd name="T16" fmla="*/ 6076 w 8880"/>
              <a:gd name="T17" fmla="*/ 2292 h 2537"/>
              <a:gd name="T18" fmla="*/ 6885 w 8880"/>
              <a:gd name="T19" fmla="*/ 2134 h 2537"/>
              <a:gd name="T20" fmla="*/ 7084 w 8880"/>
              <a:gd name="T21" fmla="*/ 2023 h 2537"/>
              <a:gd name="T22" fmla="*/ 7328 w 8880"/>
              <a:gd name="T23" fmla="*/ 1658 h 2537"/>
              <a:gd name="T24" fmla="*/ 7967 w 8880"/>
              <a:gd name="T25" fmla="*/ 1152 h 2537"/>
              <a:gd name="T26" fmla="*/ 7308 w 8880"/>
              <a:gd name="T27" fmla="*/ 767 h 2537"/>
              <a:gd name="T28" fmla="*/ 8655 w 8880"/>
              <a:gd name="T29" fmla="*/ 767 h 2537"/>
              <a:gd name="T30" fmla="*/ 7358 w 8880"/>
              <a:gd name="T31" fmla="*/ 2537 h 2537"/>
              <a:gd name="T32" fmla="*/ 8779 w 8880"/>
              <a:gd name="T33" fmla="*/ 2537 h 2537"/>
              <a:gd name="T34" fmla="*/ 8531 w 8880"/>
              <a:gd name="T35" fmla="*/ 1602 h 2537"/>
              <a:gd name="T36" fmla="*/ 8750 w 8880"/>
              <a:gd name="T37" fmla="*/ 767 h 2537"/>
              <a:gd name="T38" fmla="*/ 8750 w 8880"/>
              <a:gd name="T39" fmla="*/ 766 h 2537"/>
              <a:gd name="T40" fmla="*/ 7214 w 8880"/>
              <a:gd name="T41" fmla="*/ 767 h 2537"/>
              <a:gd name="T42" fmla="*/ 7328 w 8880"/>
              <a:gd name="T43" fmla="*/ 1564 h 2537"/>
              <a:gd name="T44" fmla="*/ 6553 w 8880"/>
              <a:gd name="T45" fmla="*/ 1470 h 2537"/>
              <a:gd name="T46" fmla="*/ 6728 w 8880"/>
              <a:gd name="T47" fmla="*/ 2030 h 2537"/>
              <a:gd name="T48" fmla="*/ 5637 w 8880"/>
              <a:gd name="T49" fmla="*/ 1694 h 2537"/>
              <a:gd name="T50" fmla="*/ 5695 w 8880"/>
              <a:gd name="T51" fmla="*/ 2144 h 2537"/>
              <a:gd name="T52" fmla="*/ 4646 w 8880"/>
              <a:gd name="T53" fmla="*/ 1410 h 2537"/>
              <a:gd name="T54" fmla="*/ 4777 w 8880"/>
              <a:gd name="T55" fmla="*/ 2054 h 2537"/>
              <a:gd name="T56" fmla="*/ 1225 w 8880"/>
              <a:gd name="T57" fmla="*/ 2195 h 2537"/>
              <a:gd name="T58" fmla="*/ 551 w 8880"/>
              <a:gd name="T59" fmla="*/ 2537 h 2537"/>
              <a:gd name="T60" fmla="*/ 4950 w 8880"/>
              <a:gd name="T61" fmla="*/ 1685 h 2537"/>
              <a:gd name="T62" fmla="*/ 4844 w 8880"/>
              <a:gd name="T63" fmla="*/ 1675 h 2537"/>
              <a:gd name="T64" fmla="*/ 5166 w 8880"/>
              <a:gd name="T65" fmla="*/ 2095 h 2537"/>
              <a:gd name="T66" fmla="*/ 4950 w 8880"/>
              <a:gd name="T67" fmla="*/ 1685 h 2537"/>
              <a:gd name="T68" fmla="*/ 6017 w 8880"/>
              <a:gd name="T69" fmla="*/ 1963 h 2537"/>
              <a:gd name="T70" fmla="*/ 5831 w 8880"/>
              <a:gd name="T71" fmla="*/ 1893 h 2537"/>
              <a:gd name="T72" fmla="*/ 5952 w 8880"/>
              <a:gd name="T73" fmla="*/ 2032 h 2537"/>
              <a:gd name="T74" fmla="*/ 8509 w 8880"/>
              <a:gd name="T75" fmla="*/ 766 h 2537"/>
              <a:gd name="T76" fmla="*/ 7454 w 8880"/>
              <a:gd name="T77" fmla="*/ 767 h 2537"/>
              <a:gd name="T78" fmla="*/ 8029 w 8880"/>
              <a:gd name="T79" fmla="*/ 767 h 2537"/>
              <a:gd name="T80" fmla="*/ 7934 w 8880"/>
              <a:gd name="T81" fmla="*/ 719 h 2537"/>
              <a:gd name="T82" fmla="*/ 7741 w 8880"/>
              <a:gd name="T83" fmla="*/ 959 h 2537"/>
              <a:gd name="T84" fmla="*/ 7982 w 8880"/>
              <a:gd name="T85" fmla="*/ 333 h 2537"/>
              <a:gd name="T86" fmla="*/ 7434 w 8880"/>
              <a:gd name="T87" fmla="*/ 2173 h 2537"/>
              <a:gd name="T88" fmla="*/ 7767 w 8880"/>
              <a:gd name="T89" fmla="*/ 1646 h 2537"/>
              <a:gd name="T90" fmla="*/ 6788 w 8880"/>
              <a:gd name="T91" fmla="*/ 1670 h 2537"/>
              <a:gd name="T92" fmla="*/ 6782 w 8880"/>
              <a:gd name="T93" fmla="*/ 1775 h 2537"/>
              <a:gd name="T94" fmla="*/ 8269 w 8880"/>
              <a:gd name="T95" fmla="*/ 767 h 2537"/>
              <a:gd name="T96" fmla="*/ 7694 w 8880"/>
              <a:gd name="T97" fmla="*/ 767 h 2537"/>
              <a:gd name="T98" fmla="*/ 7789 w 8880"/>
              <a:gd name="T99" fmla="*/ 814 h 2537"/>
              <a:gd name="T100" fmla="*/ 7982 w 8880"/>
              <a:gd name="T101" fmla="*/ 574 h 2537"/>
              <a:gd name="T102" fmla="*/ 7767 w 8880"/>
              <a:gd name="T103" fmla="*/ 1646 h 2537"/>
              <a:gd name="T104" fmla="*/ 1668 w 8880"/>
              <a:gd name="T105" fmla="*/ 2537 h 2537"/>
              <a:gd name="T106" fmla="*/ 3177 w 8880"/>
              <a:gd name="T107" fmla="*/ 2349 h 2537"/>
              <a:gd name="T108" fmla="*/ 4686 w 8880"/>
              <a:gd name="T109" fmla="*/ 2537 h 2537"/>
              <a:gd name="T110" fmla="*/ 1668 w 8880"/>
              <a:gd name="T111" fmla="*/ 2537 h 2537"/>
              <a:gd name="T112" fmla="*/ 8317 w 8880"/>
              <a:gd name="T113" fmla="*/ 2129 h 2537"/>
              <a:gd name="T114" fmla="*/ 8383 w 8880"/>
              <a:gd name="T115" fmla="*/ 2537 h 2537"/>
              <a:gd name="T116" fmla="*/ 7946 w 8880"/>
              <a:gd name="T117" fmla="*/ 2537 h 2537"/>
              <a:gd name="T118" fmla="*/ 8317 w 8880"/>
              <a:gd name="T119" fmla="*/ 2129 h 2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80" h="2537">
                <a:moveTo>
                  <a:pt x="1026" y="2537"/>
                </a:moveTo>
                <a:lnTo>
                  <a:pt x="1026" y="2537"/>
                </a:lnTo>
                <a:lnTo>
                  <a:pt x="1280" y="2537"/>
                </a:lnTo>
                <a:cubicBezTo>
                  <a:pt x="1783" y="2330"/>
                  <a:pt x="2286" y="2109"/>
                  <a:pt x="3177" y="2109"/>
                </a:cubicBezTo>
                <a:cubicBezTo>
                  <a:pt x="4068" y="2109"/>
                  <a:pt x="4571" y="2330"/>
                  <a:pt x="5074" y="2537"/>
                </a:cubicBezTo>
                <a:lnTo>
                  <a:pt x="5328" y="2537"/>
                </a:lnTo>
                <a:cubicBezTo>
                  <a:pt x="4739" y="2310"/>
                  <a:pt x="4220" y="2014"/>
                  <a:pt x="3177" y="2014"/>
                </a:cubicBezTo>
                <a:cubicBezTo>
                  <a:pt x="2134" y="2014"/>
                  <a:pt x="1616" y="2310"/>
                  <a:pt x="1026" y="2537"/>
                </a:cubicBezTo>
                <a:close/>
                <a:moveTo>
                  <a:pt x="551" y="2537"/>
                </a:moveTo>
                <a:lnTo>
                  <a:pt x="551" y="2537"/>
                </a:lnTo>
                <a:cubicBezTo>
                  <a:pt x="1357" y="2323"/>
                  <a:pt x="1850" y="1865"/>
                  <a:pt x="3177" y="1865"/>
                </a:cubicBezTo>
                <a:cubicBezTo>
                  <a:pt x="4504" y="1865"/>
                  <a:pt x="4997" y="2323"/>
                  <a:pt x="5803" y="2537"/>
                </a:cubicBezTo>
                <a:lnTo>
                  <a:pt x="6355" y="2537"/>
                </a:lnTo>
                <a:cubicBezTo>
                  <a:pt x="5856" y="2494"/>
                  <a:pt x="5499" y="2347"/>
                  <a:pt x="5126" y="2193"/>
                </a:cubicBezTo>
                <a:cubicBezTo>
                  <a:pt x="4805" y="2061"/>
                  <a:pt x="4743" y="1856"/>
                  <a:pt x="4741" y="1506"/>
                </a:cubicBezTo>
                <a:cubicBezTo>
                  <a:pt x="5184" y="1543"/>
                  <a:pt x="5285" y="2106"/>
                  <a:pt x="5819" y="2312"/>
                </a:cubicBezTo>
                <a:cubicBezTo>
                  <a:pt x="5988" y="2382"/>
                  <a:pt x="6169" y="2413"/>
                  <a:pt x="6336" y="2426"/>
                </a:cubicBezTo>
                <a:cubicBezTo>
                  <a:pt x="6245" y="2391"/>
                  <a:pt x="6158" y="2346"/>
                  <a:pt x="6076" y="2292"/>
                </a:cubicBezTo>
                <a:cubicBezTo>
                  <a:pt x="5858" y="2243"/>
                  <a:pt x="5737" y="2200"/>
                  <a:pt x="5732" y="1790"/>
                </a:cubicBezTo>
                <a:cubicBezTo>
                  <a:pt x="6266" y="1807"/>
                  <a:pt x="6287" y="2134"/>
                  <a:pt x="6885" y="2134"/>
                </a:cubicBezTo>
                <a:cubicBezTo>
                  <a:pt x="7071" y="2134"/>
                  <a:pt x="7249" y="2097"/>
                  <a:pt x="7411" y="2031"/>
                </a:cubicBezTo>
                <a:cubicBezTo>
                  <a:pt x="7310" y="2043"/>
                  <a:pt x="7212" y="2044"/>
                  <a:pt x="7084" y="2023"/>
                </a:cubicBezTo>
                <a:cubicBezTo>
                  <a:pt x="6781" y="2069"/>
                  <a:pt x="6661" y="1870"/>
                  <a:pt x="6649" y="1565"/>
                </a:cubicBezTo>
                <a:cubicBezTo>
                  <a:pt x="6966" y="1573"/>
                  <a:pt x="7084" y="1658"/>
                  <a:pt x="7328" y="1658"/>
                </a:cubicBezTo>
                <a:cubicBezTo>
                  <a:pt x="7568" y="1658"/>
                  <a:pt x="7788" y="1505"/>
                  <a:pt x="7918" y="1249"/>
                </a:cubicBezTo>
                <a:lnTo>
                  <a:pt x="7967" y="1152"/>
                </a:lnTo>
                <a:lnTo>
                  <a:pt x="7862" y="1183"/>
                </a:lnTo>
                <a:cubicBezTo>
                  <a:pt x="7585" y="1263"/>
                  <a:pt x="7308" y="1054"/>
                  <a:pt x="7308" y="767"/>
                </a:cubicBezTo>
                <a:cubicBezTo>
                  <a:pt x="7308" y="395"/>
                  <a:pt x="7610" y="93"/>
                  <a:pt x="7982" y="93"/>
                </a:cubicBezTo>
                <a:cubicBezTo>
                  <a:pt x="8353" y="93"/>
                  <a:pt x="8655" y="395"/>
                  <a:pt x="8655" y="767"/>
                </a:cubicBezTo>
                <a:cubicBezTo>
                  <a:pt x="8655" y="1678"/>
                  <a:pt x="7887" y="2431"/>
                  <a:pt x="6900" y="2537"/>
                </a:cubicBezTo>
                <a:lnTo>
                  <a:pt x="7358" y="2537"/>
                </a:lnTo>
                <a:cubicBezTo>
                  <a:pt x="7828" y="2387"/>
                  <a:pt x="8221" y="2089"/>
                  <a:pt x="8468" y="1706"/>
                </a:cubicBezTo>
                <a:lnTo>
                  <a:pt x="8779" y="2537"/>
                </a:lnTo>
                <a:lnTo>
                  <a:pt x="8880" y="2537"/>
                </a:lnTo>
                <a:lnTo>
                  <a:pt x="8531" y="1602"/>
                </a:lnTo>
                <a:cubicBezTo>
                  <a:pt x="8670" y="1350"/>
                  <a:pt x="8749" y="1067"/>
                  <a:pt x="8750" y="767"/>
                </a:cubicBezTo>
                <a:lnTo>
                  <a:pt x="8750" y="767"/>
                </a:lnTo>
                <a:lnTo>
                  <a:pt x="8750" y="766"/>
                </a:lnTo>
                <a:lnTo>
                  <a:pt x="8750" y="766"/>
                </a:lnTo>
                <a:cubicBezTo>
                  <a:pt x="8749" y="343"/>
                  <a:pt x="8405" y="0"/>
                  <a:pt x="7982" y="0"/>
                </a:cubicBezTo>
                <a:cubicBezTo>
                  <a:pt x="7558" y="0"/>
                  <a:pt x="7214" y="343"/>
                  <a:pt x="7214" y="767"/>
                </a:cubicBezTo>
                <a:cubicBezTo>
                  <a:pt x="7214" y="1073"/>
                  <a:pt x="7475" y="1317"/>
                  <a:pt x="7783" y="1293"/>
                </a:cubicBezTo>
                <a:cubicBezTo>
                  <a:pt x="7669" y="1464"/>
                  <a:pt x="7504" y="1564"/>
                  <a:pt x="7328" y="1564"/>
                </a:cubicBezTo>
                <a:cubicBezTo>
                  <a:pt x="7089" y="1564"/>
                  <a:pt x="6965" y="1470"/>
                  <a:pt x="6600" y="1470"/>
                </a:cubicBezTo>
                <a:lnTo>
                  <a:pt x="6553" y="1470"/>
                </a:lnTo>
                <a:lnTo>
                  <a:pt x="6553" y="1517"/>
                </a:lnTo>
                <a:cubicBezTo>
                  <a:pt x="6553" y="1752"/>
                  <a:pt x="6614" y="1929"/>
                  <a:pt x="6728" y="2030"/>
                </a:cubicBezTo>
                <a:cubicBezTo>
                  <a:pt x="6299" y="1976"/>
                  <a:pt x="6239" y="1694"/>
                  <a:pt x="5684" y="1694"/>
                </a:cubicBezTo>
                <a:lnTo>
                  <a:pt x="5637" y="1694"/>
                </a:lnTo>
                <a:lnTo>
                  <a:pt x="5637" y="1742"/>
                </a:lnTo>
                <a:cubicBezTo>
                  <a:pt x="5637" y="1885"/>
                  <a:pt x="5644" y="2029"/>
                  <a:pt x="5695" y="2144"/>
                </a:cubicBezTo>
                <a:cubicBezTo>
                  <a:pt x="5303" y="1896"/>
                  <a:pt x="5177" y="1410"/>
                  <a:pt x="4693" y="1410"/>
                </a:cubicBezTo>
                <a:lnTo>
                  <a:pt x="4646" y="1410"/>
                </a:lnTo>
                <a:lnTo>
                  <a:pt x="4646" y="1457"/>
                </a:lnTo>
                <a:cubicBezTo>
                  <a:pt x="4646" y="1642"/>
                  <a:pt x="4647" y="1873"/>
                  <a:pt x="4777" y="2054"/>
                </a:cubicBezTo>
                <a:cubicBezTo>
                  <a:pt x="4366" y="1899"/>
                  <a:pt x="3892" y="1770"/>
                  <a:pt x="3177" y="1770"/>
                </a:cubicBezTo>
                <a:cubicBezTo>
                  <a:pt x="2252" y="1770"/>
                  <a:pt x="1730" y="1986"/>
                  <a:pt x="1225" y="2195"/>
                </a:cubicBezTo>
                <a:cubicBezTo>
                  <a:pt x="853" y="2348"/>
                  <a:pt x="498" y="2494"/>
                  <a:pt x="0" y="2537"/>
                </a:cubicBezTo>
                <a:lnTo>
                  <a:pt x="551" y="2537"/>
                </a:lnTo>
                <a:close/>
                <a:moveTo>
                  <a:pt x="4950" y="1685"/>
                </a:moveTo>
                <a:lnTo>
                  <a:pt x="4950" y="1685"/>
                </a:lnTo>
                <a:cubicBezTo>
                  <a:pt x="4915" y="1658"/>
                  <a:pt x="4879" y="1638"/>
                  <a:pt x="4839" y="1623"/>
                </a:cubicBezTo>
                <a:cubicBezTo>
                  <a:pt x="4841" y="1641"/>
                  <a:pt x="4842" y="1658"/>
                  <a:pt x="4844" y="1675"/>
                </a:cubicBezTo>
                <a:cubicBezTo>
                  <a:pt x="4906" y="1825"/>
                  <a:pt x="4997" y="1958"/>
                  <a:pt x="5110" y="2072"/>
                </a:cubicBezTo>
                <a:cubicBezTo>
                  <a:pt x="5128" y="2079"/>
                  <a:pt x="5148" y="2087"/>
                  <a:pt x="5166" y="2095"/>
                </a:cubicBezTo>
                <a:cubicBezTo>
                  <a:pt x="5255" y="2131"/>
                  <a:pt x="5343" y="2168"/>
                  <a:pt x="5432" y="2202"/>
                </a:cubicBezTo>
                <a:cubicBezTo>
                  <a:pt x="5223" y="2082"/>
                  <a:pt x="5052" y="1903"/>
                  <a:pt x="4950" y="1685"/>
                </a:cubicBezTo>
                <a:close/>
                <a:moveTo>
                  <a:pt x="6017" y="1963"/>
                </a:moveTo>
                <a:lnTo>
                  <a:pt x="6017" y="1963"/>
                </a:lnTo>
                <a:cubicBezTo>
                  <a:pt x="6008" y="1955"/>
                  <a:pt x="5995" y="1942"/>
                  <a:pt x="5981" y="1926"/>
                </a:cubicBezTo>
                <a:cubicBezTo>
                  <a:pt x="5936" y="1912"/>
                  <a:pt x="5888" y="1900"/>
                  <a:pt x="5831" y="1893"/>
                </a:cubicBezTo>
                <a:cubicBezTo>
                  <a:pt x="5831" y="1893"/>
                  <a:pt x="5831" y="1894"/>
                  <a:pt x="5831" y="1894"/>
                </a:cubicBezTo>
                <a:cubicBezTo>
                  <a:pt x="5882" y="1965"/>
                  <a:pt x="5942" y="2022"/>
                  <a:pt x="5952" y="2032"/>
                </a:cubicBezTo>
                <a:cubicBezTo>
                  <a:pt x="6348" y="2409"/>
                  <a:pt x="6915" y="2499"/>
                  <a:pt x="7471" y="2260"/>
                </a:cubicBezTo>
                <a:cubicBezTo>
                  <a:pt x="8092" y="1994"/>
                  <a:pt x="8509" y="1394"/>
                  <a:pt x="8509" y="766"/>
                </a:cubicBezTo>
                <a:cubicBezTo>
                  <a:pt x="8509" y="476"/>
                  <a:pt x="8273" y="239"/>
                  <a:pt x="7982" y="239"/>
                </a:cubicBezTo>
                <a:cubicBezTo>
                  <a:pt x="7691" y="239"/>
                  <a:pt x="7454" y="476"/>
                  <a:pt x="7454" y="767"/>
                </a:cubicBezTo>
                <a:cubicBezTo>
                  <a:pt x="7454" y="925"/>
                  <a:pt x="7583" y="1054"/>
                  <a:pt x="7741" y="1054"/>
                </a:cubicBezTo>
                <a:cubicBezTo>
                  <a:pt x="7900" y="1054"/>
                  <a:pt x="8029" y="925"/>
                  <a:pt x="8029" y="767"/>
                </a:cubicBezTo>
                <a:lnTo>
                  <a:pt x="8029" y="719"/>
                </a:lnTo>
                <a:lnTo>
                  <a:pt x="7934" y="719"/>
                </a:lnTo>
                <a:lnTo>
                  <a:pt x="7934" y="767"/>
                </a:lnTo>
                <a:cubicBezTo>
                  <a:pt x="7934" y="873"/>
                  <a:pt x="7848" y="959"/>
                  <a:pt x="7741" y="959"/>
                </a:cubicBezTo>
                <a:cubicBezTo>
                  <a:pt x="7635" y="959"/>
                  <a:pt x="7548" y="873"/>
                  <a:pt x="7548" y="767"/>
                </a:cubicBezTo>
                <a:cubicBezTo>
                  <a:pt x="7548" y="528"/>
                  <a:pt x="7743" y="333"/>
                  <a:pt x="7982" y="333"/>
                </a:cubicBezTo>
                <a:cubicBezTo>
                  <a:pt x="8220" y="333"/>
                  <a:pt x="8415" y="528"/>
                  <a:pt x="8415" y="767"/>
                </a:cubicBezTo>
                <a:cubicBezTo>
                  <a:pt x="8415" y="1356"/>
                  <a:pt x="8021" y="1922"/>
                  <a:pt x="7434" y="2173"/>
                </a:cubicBezTo>
                <a:cubicBezTo>
                  <a:pt x="6918" y="2395"/>
                  <a:pt x="6389" y="2316"/>
                  <a:pt x="6017" y="1963"/>
                </a:cubicBezTo>
                <a:close/>
                <a:moveTo>
                  <a:pt x="7767" y="1646"/>
                </a:moveTo>
                <a:lnTo>
                  <a:pt x="7767" y="1646"/>
                </a:lnTo>
                <a:cubicBezTo>
                  <a:pt x="7417" y="1903"/>
                  <a:pt x="6998" y="1798"/>
                  <a:pt x="6788" y="1670"/>
                </a:cubicBezTo>
                <a:cubicBezTo>
                  <a:pt x="6776" y="1669"/>
                  <a:pt x="6765" y="1667"/>
                  <a:pt x="6753" y="1666"/>
                </a:cubicBezTo>
                <a:cubicBezTo>
                  <a:pt x="6760" y="1707"/>
                  <a:pt x="6769" y="1743"/>
                  <a:pt x="6782" y="1775"/>
                </a:cubicBezTo>
                <a:cubicBezTo>
                  <a:pt x="7085" y="1938"/>
                  <a:pt x="7503" y="1957"/>
                  <a:pt x="7823" y="1723"/>
                </a:cubicBezTo>
                <a:cubicBezTo>
                  <a:pt x="8102" y="1518"/>
                  <a:pt x="8269" y="1160"/>
                  <a:pt x="8269" y="767"/>
                </a:cubicBezTo>
                <a:cubicBezTo>
                  <a:pt x="8269" y="608"/>
                  <a:pt x="8140" y="479"/>
                  <a:pt x="7982" y="479"/>
                </a:cubicBezTo>
                <a:cubicBezTo>
                  <a:pt x="7823" y="479"/>
                  <a:pt x="7694" y="608"/>
                  <a:pt x="7694" y="767"/>
                </a:cubicBezTo>
                <a:lnTo>
                  <a:pt x="7694" y="814"/>
                </a:lnTo>
                <a:lnTo>
                  <a:pt x="7789" y="814"/>
                </a:lnTo>
                <a:lnTo>
                  <a:pt x="7789" y="767"/>
                </a:lnTo>
                <a:cubicBezTo>
                  <a:pt x="7789" y="660"/>
                  <a:pt x="7875" y="574"/>
                  <a:pt x="7982" y="574"/>
                </a:cubicBezTo>
                <a:cubicBezTo>
                  <a:pt x="8088" y="574"/>
                  <a:pt x="8174" y="660"/>
                  <a:pt x="8174" y="767"/>
                </a:cubicBezTo>
                <a:cubicBezTo>
                  <a:pt x="8174" y="1130"/>
                  <a:pt x="8022" y="1459"/>
                  <a:pt x="7767" y="1646"/>
                </a:cubicBezTo>
                <a:close/>
                <a:moveTo>
                  <a:pt x="1668" y="2537"/>
                </a:moveTo>
                <a:lnTo>
                  <a:pt x="1668" y="2537"/>
                </a:lnTo>
                <a:lnTo>
                  <a:pt x="1950" y="2537"/>
                </a:lnTo>
                <a:cubicBezTo>
                  <a:pt x="2282" y="2429"/>
                  <a:pt x="2664" y="2349"/>
                  <a:pt x="3177" y="2349"/>
                </a:cubicBezTo>
                <a:cubicBezTo>
                  <a:pt x="3690" y="2349"/>
                  <a:pt x="4072" y="2429"/>
                  <a:pt x="4404" y="2537"/>
                </a:cubicBezTo>
                <a:lnTo>
                  <a:pt x="4686" y="2537"/>
                </a:lnTo>
                <a:cubicBezTo>
                  <a:pt x="4288" y="2384"/>
                  <a:pt x="3842" y="2254"/>
                  <a:pt x="3177" y="2254"/>
                </a:cubicBezTo>
                <a:cubicBezTo>
                  <a:pt x="2512" y="2254"/>
                  <a:pt x="2067" y="2384"/>
                  <a:pt x="1668" y="2537"/>
                </a:cubicBezTo>
                <a:close/>
                <a:moveTo>
                  <a:pt x="8317" y="2129"/>
                </a:moveTo>
                <a:lnTo>
                  <a:pt x="8317" y="2129"/>
                </a:lnTo>
                <a:lnTo>
                  <a:pt x="8485" y="2537"/>
                </a:lnTo>
                <a:lnTo>
                  <a:pt x="8383" y="2537"/>
                </a:lnTo>
                <a:lnTo>
                  <a:pt x="8281" y="2291"/>
                </a:lnTo>
                <a:cubicBezTo>
                  <a:pt x="8177" y="2384"/>
                  <a:pt x="8065" y="2466"/>
                  <a:pt x="7946" y="2537"/>
                </a:cubicBezTo>
                <a:lnTo>
                  <a:pt x="7748" y="2537"/>
                </a:lnTo>
                <a:cubicBezTo>
                  <a:pt x="7947" y="2434"/>
                  <a:pt x="8137" y="2298"/>
                  <a:pt x="8317" y="2129"/>
                </a:cubicBezTo>
                <a:close/>
              </a:path>
            </a:pathLst>
          </a:custGeom>
          <a:solidFill>
            <a:srgbClr val="D9D9D6">
              <a:alpha val="25000"/>
            </a:srgbClr>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pic>
        <p:nvPicPr>
          <p:cNvPr id="2050" name="Picture 2">
            <a:extLst>
              <a:ext uri="{FF2B5EF4-FFF2-40B4-BE49-F238E27FC236}">
                <a16:creationId xmlns:a16="http://schemas.microsoft.com/office/drawing/2014/main" id="{5C554842-04D9-4856-AF1A-F2A6E3321AF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5601" t="16213" r="14403" b="23580"/>
          <a:stretch/>
        </p:blipFill>
        <p:spPr bwMode="auto">
          <a:xfrm>
            <a:off x="607568" y="1364489"/>
            <a:ext cx="3208021" cy="4068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71000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607568" y="6091937"/>
            <a:ext cx="467360" cy="462279"/>
          </a:xfrm>
          <a:prstGeom prst="rect">
            <a:avLst/>
          </a:prstGeom>
        </p:spPr>
      </p:pic>
      <p:sp>
        <p:nvSpPr>
          <p:cNvPr id="4" name="object 4"/>
          <p:cNvSpPr txBox="1">
            <a:spLocks noGrp="1"/>
          </p:cNvSpPr>
          <p:nvPr>
            <p:ph type="body" idx="1"/>
          </p:nvPr>
        </p:nvSpPr>
        <p:spPr>
          <a:xfrm>
            <a:off x="5425439" y="1244246"/>
            <a:ext cx="6502539" cy="4369508"/>
          </a:xfrm>
          <a:prstGeom prst="rect">
            <a:avLst/>
          </a:prstGeom>
        </p:spPr>
        <p:txBody>
          <a:bodyPr vert="horz" wrap="square" lIns="0" tIns="16933" rIns="0" bIns="0" rtlCol="0">
            <a:spAutoFit/>
          </a:bodyPr>
          <a:lstStyle/>
          <a:p>
            <a:pPr marL="358986" marR="6773" indent="-342900">
              <a:lnSpc>
                <a:spcPct val="200000"/>
              </a:lnSpc>
              <a:buClr>
                <a:schemeClr val="tx1">
                  <a:lumMod val="95000"/>
                  <a:lumOff val="5000"/>
                </a:schemeClr>
              </a:buClr>
              <a:buSzPct val="86000"/>
              <a:buFont typeface="Arial" panose="020B0604020202020204" pitchFamily="34" charset="0"/>
              <a:buChar char="•"/>
              <a:tabLst>
                <a:tab pos="247220" algn="l"/>
              </a:tabLst>
            </a:pPr>
            <a:r>
              <a:rPr lang="en-GB" sz="1800">
                <a:solidFill>
                  <a:srgbClr val="0070C0"/>
                </a:solidFill>
                <a:latin typeface="BentonSans Medium" panose="02000603000000020004" pitchFamily="2" charset="0"/>
              </a:rPr>
              <a:t>Choose a job!</a:t>
            </a:r>
          </a:p>
          <a:p>
            <a:pPr marL="358986" marR="6773" indent="-342900">
              <a:lnSpc>
                <a:spcPct val="200000"/>
              </a:lnSpc>
              <a:buClr>
                <a:schemeClr val="tx1">
                  <a:lumMod val="95000"/>
                  <a:lumOff val="5000"/>
                </a:schemeClr>
              </a:buClr>
              <a:buSzPct val="86000"/>
              <a:buFont typeface="Arial" panose="020B0604020202020204" pitchFamily="34" charset="0"/>
              <a:buChar char="•"/>
              <a:tabLst>
                <a:tab pos="247220" algn="l"/>
              </a:tabLst>
            </a:pPr>
            <a:r>
              <a:rPr lang="en-GB" sz="1800">
                <a:solidFill>
                  <a:srgbClr val="0070C0"/>
                </a:solidFill>
                <a:latin typeface="BentonSans Medium" panose="02000603000000020004" pitchFamily="2" charset="0"/>
              </a:rPr>
              <a:t>Uneasy and conflicted </a:t>
            </a:r>
            <a:r>
              <a:rPr lang="en-GB" sz="1800">
                <a:latin typeface="BentonSans Light" panose="02000503000000020004" pitchFamily="2" charset="0"/>
              </a:rPr>
              <a:t>about how responsible I wanted to be for the overall operation</a:t>
            </a:r>
          </a:p>
          <a:p>
            <a:pPr marL="358986" marR="6773" indent="-342900">
              <a:lnSpc>
                <a:spcPct val="200000"/>
              </a:lnSpc>
              <a:buClr>
                <a:schemeClr val="tx1">
                  <a:lumMod val="95000"/>
                  <a:lumOff val="5000"/>
                </a:schemeClr>
              </a:buClr>
              <a:buSzPct val="86000"/>
              <a:buFont typeface="Arial" panose="020B0604020202020204" pitchFamily="34" charset="0"/>
              <a:buChar char="•"/>
              <a:tabLst>
                <a:tab pos="247220" algn="l"/>
              </a:tabLst>
            </a:pPr>
            <a:r>
              <a:rPr lang="en-GB" sz="1800">
                <a:solidFill>
                  <a:srgbClr val="0070C0"/>
                </a:solidFill>
                <a:latin typeface="BentonSans Medium" panose="02000603000000020004" pitchFamily="2" charset="0"/>
              </a:rPr>
              <a:t>“Easy” role </a:t>
            </a:r>
            <a:r>
              <a:rPr lang="en-GB" sz="1800">
                <a:latin typeface="BentonSans Light" panose="02000503000000020004" pitchFamily="2" charset="0"/>
              </a:rPr>
              <a:t>but </a:t>
            </a:r>
            <a:r>
              <a:rPr lang="en-GB" sz="1800">
                <a:solidFill>
                  <a:srgbClr val="0070C0"/>
                </a:solidFill>
                <a:latin typeface="BentonSans Medium" panose="02000603000000020004" pitchFamily="2" charset="0"/>
              </a:rPr>
              <a:t>driving from the peanut gallery</a:t>
            </a:r>
          </a:p>
          <a:p>
            <a:pPr marL="358986" marR="6773" indent="-342900">
              <a:lnSpc>
                <a:spcPct val="200000"/>
              </a:lnSpc>
              <a:buClr>
                <a:schemeClr val="tx1">
                  <a:lumMod val="95000"/>
                  <a:lumOff val="5000"/>
                </a:schemeClr>
              </a:buClr>
              <a:buSzPct val="86000"/>
              <a:buFont typeface="Arial" panose="020B0604020202020204" pitchFamily="34" charset="0"/>
              <a:buChar char="•"/>
              <a:tabLst>
                <a:tab pos="247220" algn="l"/>
              </a:tabLst>
            </a:pPr>
            <a:r>
              <a:rPr lang="en-GB" sz="1800">
                <a:latin typeface="BentonSans Light" panose="02000503000000020004" pitchFamily="2" charset="0"/>
              </a:rPr>
              <a:t>Was I doing this in other contexts at work?</a:t>
            </a:r>
          </a:p>
          <a:p>
            <a:pPr marL="358986" marR="6773" indent="-342900">
              <a:lnSpc>
                <a:spcPct val="200000"/>
              </a:lnSpc>
              <a:buClr>
                <a:schemeClr val="tx1">
                  <a:lumMod val="95000"/>
                  <a:lumOff val="5000"/>
                </a:schemeClr>
              </a:buClr>
              <a:buSzPct val="86000"/>
              <a:buFont typeface="Arial" panose="020B0604020202020204" pitchFamily="34" charset="0"/>
              <a:buChar char="•"/>
              <a:tabLst>
                <a:tab pos="247220" algn="l"/>
              </a:tabLst>
            </a:pPr>
            <a:r>
              <a:rPr lang="en-GB" sz="1800">
                <a:solidFill>
                  <a:srgbClr val="0070C0"/>
                </a:solidFill>
                <a:latin typeface="BentonSans Medium" panose="02000603000000020004" pitchFamily="2" charset="0"/>
              </a:rPr>
              <a:t>I put myself on the side line</a:t>
            </a:r>
            <a:r>
              <a:rPr lang="en-GB" sz="1800">
                <a:latin typeface="BentonSans Light" panose="02000503000000020004" pitchFamily="2" charset="0"/>
              </a:rPr>
              <a:t>. How could I be more invested in the outcome and define my role broadly?</a:t>
            </a:r>
          </a:p>
          <a:p>
            <a:pPr marL="358986" marR="6773" indent="-342900">
              <a:lnSpc>
                <a:spcPct val="200000"/>
              </a:lnSpc>
              <a:buClr>
                <a:schemeClr val="tx1">
                  <a:lumMod val="95000"/>
                  <a:lumOff val="5000"/>
                </a:schemeClr>
              </a:buClr>
              <a:buSzPct val="86000"/>
              <a:buFont typeface="Arial" panose="020B0604020202020204" pitchFamily="34" charset="0"/>
              <a:buChar char="•"/>
              <a:tabLst>
                <a:tab pos="247220" algn="l"/>
              </a:tabLst>
            </a:pPr>
            <a:r>
              <a:rPr lang="en-GB" sz="1800">
                <a:latin typeface="BentonSans Light" panose="02000503000000020004" pitchFamily="2" charset="0"/>
              </a:rPr>
              <a:t>What’s the </a:t>
            </a:r>
            <a:r>
              <a:rPr lang="en-GB" sz="1800">
                <a:solidFill>
                  <a:srgbClr val="0070C0"/>
                </a:solidFill>
                <a:latin typeface="BentonSans Medium" panose="02000603000000020004" pitchFamily="2" charset="0"/>
              </a:rPr>
              <a:t>second order challenge</a:t>
            </a:r>
            <a:r>
              <a:rPr lang="en-GB" sz="1800">
                <a:latin typeface="BentonSans Light" panose="02000503000000020004" pitchFamily="2" charset="0"/>
              </a:rPr>
              <a:t>?</a:t>
            </a:r>
          </a:p>
        </p:txBody>
      </p:sp>
      <p:sp>
        <p:nvSpPr>
          <p:cNvPr id="11" name="Title 3">
            <a:extLst>
              <a:ext uri="{FF2B5EF4-FFF2-40B4-BE49-F238E27FC236}">
                <a16:creationId xmlns:a16="http://schemas.microsoft.com/office/drawing/2014/main" id="{60271F73-D2A3-DDD6-D4CF-BDF8419A2937}"/>
              </a:ext>
            </a:extLst>
          </p:cNvPr>
          <p:cNvSpPr txBox="1">
            <a:spLocks/>
          </p:cNvSpPr>
          <p:nvPr/>
        </p:nvSpPr>
        <p:spPr>
          <a:xfrm>
            <a:off x="503175" y="199987"/>
            <a:ext cx="11185650" cy="911860"/>
          </a:xfrm>
          <a:prstGeom prst="rect">
            <a:avLst/>
          </a:prstGeom>
        </p:spPr>
        <p:txBody>
          <a:bodyPr vert="horz" lIns="0" tIns="0" rIns="0" bIns="0" rtlCol="0" anchor="ctr" anchorCtr="0">
            <a:noAutofit/>
          </a:bodyPr>
          <a:lstStyle>
            <a:lvl1pPr algn="l" defTabSz="685800" rtl="0" eaLnBrk="1" latinLnBrk="0" hangingPunct="1">
              <a:lnSpc>
                <a:spcPct val="90000"/>
              </a:lnSpc>
              <a:spcBef>
                <a:spcPct val="0"/>
              </a:spcBef>
              <a:buNone/>
              <a:defRPr sz="2400" kern="1200" spc="-40" baseline="0">
                <a:solidFill>
                  <a:schemeClr val="bg2"/>
                </a:solidFill>
                <a:latin typeface="+mj-lt"/>
                <a:ea typeface="+mj-ea"/>
                <a:cs typeface="+mj-cs"/>
              </a:defRPr>
            </a:lvl1pPr>
          </a:lstStyle>
          <a:p>
            <a:pPr marL="0" marR="0" lvl="0" indent="0" algn="ctr" defTabSz="914377"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53" normalizeH="0" baseline="0" noProof="0">
                <a:ln>
                  <a:noFill/>
                </a:ln>
                <a:solidFill>
                  <a:srgbClr val="006FCF"/>
                </a:solidFill>
                <a:effectLst/>
                <a:uLnTx/>
                <a:uFillTx/>
                <a:latin typeface="BentonSans Light" panose="02000503000000020004" pitchFamily="2" charset="0"/>
                <a:ea typeface="+mj-ea"/>
                <a:cs typeface="+mj-cs"/>
              </a:rPr>
              <a:t>A couple of examples – NASCAR Pit Crew</a:t>
            </a:r>
          </a:p>
        </p:txBody>
      </p:sp>
      <p:sp>
        <p:nvSpPr>
          <p:cNvPr id="12" name="Freeform 8">
            <a:extLst>
              <a:ext uri="{FF2B5EF4-FFF2-40B4-BE49-F238E27FC236}">
                <a16:creationId xmlns:a16="http://schemas.microsoft.com/office/drawing/2014/main" id="{E6336F30-1C22-1DB5-E65D-2D2C0BFEE09F}"/>
              </a:ext>
            </a:extLst>
          </p:cNvPr>
          <p:cNvSpPr>
            <a:spLocks noChangeAspect="1" noEditPoints="1"/>
          </p:cNvSpPr>
          <p:nvPr/>
        </p:nvSpPr>
        <p:spPr bwMode="hidden">
          <a:xfrm>
            <a:off x="6386282" y="5240867"/>
            <a:ext cx="5647267" cy="1617133"/>
          </a:xfrm>
          <a:custGeom>
            <a:avLst/>
            <a:gdLst>
              <a:gd name="T0" fmla="*/ 1026 w 8880"/>
              <a:gd name="T1" fmla="*/ 2537 h 2537"/>
              <a:gd name="T2" fmla="*/ 3177 w 8880"/>
              <a:gd name="T3" fmla="*/ 2109 h 2537"/>
              <a:gd name="T4" fmla="*/ 5328 w 8880"/>
              <a:gd name="T5" fmla="*/ 2537 h 2537"/>
              <a:gd name="T6" fmla="*/ 1026 w 8880"/>
              <a:gd name="T7" fmla="*/ 2537 h 2537"/>
              <a:gd name="T8" fmla="*/ 551 w 8880"/>
              <a:gd name="T9" fmla="*/ 2537 h 2537"/>
              <a:gd name="T10" fmla="*/ 5803 w 8880"/>
              <a:gd name="T11" fmla="*/ 2537 h 2537"/>
              <a:gd name="T12" fmla="*/ 5126 w 8880"/>
              <a:gd name="T13" fmla="*/ 2193 h 2537"/>
              <a:gd name="T14" fmla="*/ 5819 w 8880"/>
              <a:gd name="T15" fmla="*/ 2312 h 2537"/>
              <a:gd name="T16" fmla="*/ 6076 w 8880"/>
              <a:gd name="T17" fmla="*/ 2292 h 2537"/>
              <a:gd name="T18" fmla="*/ 6885 w 8880"/>
              <a:gd name="T19" fmla="*/ 2134 h 2537"/>
              <a:gd name="T20" fmla="*/ 7084 w 8880"/>
              <a:gd name="T21" fmla="*/ 2023 h 2537"/>
              <a:gd name="T22" fmla="*/ 7328 w 8880"/>
              <a:gd name="T23" fmla="*/ 1658 h 2537"/>
              <a:gd name="T24" fmla="*/ 7967 w 8880"/>
              <a:gd name="T25" fmla="*/ 1152 h 2537"/>
              <a:gd name="T26" fmla="*/ 7308 w 8880"/>
              <a:gd name="T27" fmla="*/ 767 h 2537"/>
              <a:gd name="T28" fmla="*/ 8655 w 8880"/>
              <a:gd name="T29" fmla="*/ 767 h 2537"/>
              <a:gd name="T30" fmla="*/ 7358 w 8880"/>
              <a:gd name="T31" fmla="*/ 2537 h 2537"/>
              <a:gd name="T32" fmla="*/ 8779 w 8880"/>
              <a:gd name="T33" fmla="*/ 2537 h 2537"/>
              <a:gd name="T34" fmla="*/ 8531 w 8880"/>
              <a:gd name="T35" fmla="*/ 1602 h 2537"/>
              <a:gd name="T36" fmla="*/ 8750 w 8880"/>
              <a:gd name="T37" fmla="*/ 767 h 2537"/>
              <a:gd name="T38" fmla="*/ 8750 w 8880"/>
              <a:gd name="T39" fmla="*/ 766 h 2537"/>
              <a:gd name="T40" fmla="*/ 7214 w 8880"/>
              <a:gd name="T41" fmla="*/ 767 h 2537"/>
              <a:gd name="T42" fmla="*/ 7328 w 8880"/>
              <a:gd name="T43" fmla="*/ 1564 h 2537"/>
              <a:gd name="T44" fmla="*/ 6553 w 8880"/>
              <a:gd name="T45" fmla="*/ 1470 h 2537"/>
              <a:gd name="T46" fmla="*/ 6728 w 8880"/>
              <a:gd name="T47" fmla="*/ 2030 h 2537"/>
              <a:gd name="T48" fmla="*/ 5637 w 8880"/>
              <a:gd name="T49" fmla="*/ 1694 h 2537"/>
              <a:gd name="T50" fmla="*/ 5695 w 8880"/>
              <a:gd name="T51" fmla="*/ 2144 h 2537"/>
              <a:gd name="T52" fmla="*/ 4646 w 8880"/>
              <a:gd name="T53" fmla="*/ 1410 h 2537"/>
              <a:gd name="T54" fmla="*/ 4777 w 8880"/>
              <a:gd name="T55" fmla="*/ 2054 h 2537"/>
              <a:gd name="T56" fmla="*/ 1225 w 8880"/>
              <a:gd name="T57" fmla="*/ 2195 h 2537"/>
              <a:gd name="T58" fmla="*/ 551 w 8880"/>
              <a:gd name="T59" fmla="*/ 2537 h 2537"/>
              <a:gd name="T60" fmla="*/ 4950 w 8880"/>
              <a:gd name="T61" fmla="*/ 1685 h 2537"/>
              <a:gd name="T62" fmla="*/ 4844 w 8880"/>
              <a:gd name="T63" fmla="*/ 1675 h 2537"/>
              <a:gd name="T64" fmla="*/ 5166 w 8880"/>
              <a:gd name="T65" fmla="*/ 2095 h 2537"/>
              <a:gd name="T66" fmla="*/ 4950 w 8880"/>
              <a:gd name="T67" fmla="*/ 1685 h 2537"/>
              <a:gd name="T68" fmla="*/ 6017 w 8880"/>
              <a:gd name="T69" fmla="*/ 1963 h 2537"/>
              <a:gd name="T70" fmla="*/ 5831 w 8880"/>
              <a:gd name="T71" fmla="*/ 1893 h 2537"/>
              <a:gd name="T72" fmla="*/ 5952 w 8880"/>
              <a:gd name="T73" fmla="*/ 2032 h 2537"/>
              <a:gd name="T74" fmla="*/ 8509 w 8880"/>
              <a:gd name="T75" fmla="*/ 766 h 2537"/>
              <a:gd name="T76" fmla="*/ 7454 w 8880"/>
              <a:gd name="T77" fmla="*/ 767 h 2537"/>
              <a:gd name="T78" fmla="*/ 8029 w 8880"/>
              <a:gd name="T79" fmla="*/ 767 h 2537"/>
              <a:gd name="T80" fmla="*/ 7934 w 8880"/>
              <a:gd name="T81" fmla="*/ 719 h 2537"/>
              <a:gd name="T82" fmla="*/ 7741 w 8880"/>
              <a:gd name="T83" fmla="*/ 959 h 2537"/>
              <a:gd name="T84" fmla="*/ 7982 w 8880"/>
              <a:gd name="T85" fmla="*/ 333 h 2537"/>
              <a:gd name="T86" fmla="*/ 7434 w 8880"/>
              <a:gd name="T87" fmla="*/ 2173 h 2537"/>
              <a:gd name="T88" fmla="*/ 7767 w 8880"/>
              <a:gd name="T89" fmla="*/ 1646 h 2537"/>
              <a:gd name="T90" fmla="*/ 6788 w 8880"/>
              <a:gd name="T91" fmla="*/ 1670 h 2537"/>
              <a:gd name="T92" fmla="*/ 6782 w 8880"/>
              <a:gd name="T93" fmla="*/ 1775 h 2537"/>
              <a:gd name="T94" fmla="*/ 8269 w 8880"/>
              <a:gd name="T95" fmla="*/ 767 h 2537"/>
              <a:gd name="T96" fmla="*/ 7694 w 8880"/>
              <a:gd name="T97" fmla="*/ 767 h 2537"/>
              <a:gd name="T98" fmla="*/ 7789 w 8880"/>
              <a:gd name="T99" fmla="*/ 814 h 2537"/>
              <a:gd name="T100" fmla="*/ 7982 w 8880"/>
              <a:gd name="T101" fmla="*/ 574 h 2537"/>
              <a:gd name="T102" fmla="*/ 7767 w 8880"/>
              <a:gd name="T103" fmla="*/ 1646 h 2537"/>
              <a:gd name="T104" fmla="*/ 1668 w 8880"/>
              <a:gd name="T105" fmla="*/ 2537 h 2537"/>
              <a:gd name="T106" fmla="*/ 3177 w 8880"/>
              <a:gd name="T107" fmla="*/ 2349 h 2537"/>
              <a:gd name="T108" fmla="*/ 4686 w 8880"/>
              <a:gd name="T109" fmla="*/ 2537 h 2537"/>
              <a:gd name="T110" fmla="*/ 1668 w 8880"/>
              <a:gd name="T111" fmla="*/ 2537 h 2537"/>
              <a:gd name="T112" fmla="*/ 8317 w 8880"/>
              <a:gd name="T113" fmla="*/ 2129 h 2537"/>
              <a:gd name="T114" fmla="*/ 8383 w 8880"/>
              <a:gd name="T115" fmla="*/ 2537 h 2537"/>
              <a:gd name="T116" fmla="*/ 7946 w 8880"/>
              <a:gd name="T117" fmla="*/ 2537 h 2537"/>
              <a:gd name="T118" fmla="*/ 8317 w 8880"/>
              <a:gd name="T119" fmla="*/ 2129 h 2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80" h="2537">
                <a:moveTo>
                  <a:pt x="1026" y="2537"/>
                </a:moveTo>
                <a:lnTo>
                  <a:pt x="1026" y="2537"/>
                </a:lnTo>
                <a:lnTo>
                  <a:pt x="1280" y="2537"/>
                </a:lnTo>
                <a:cubicBezTo>
                  <a:pt x="1783" y="2330"/>
                  <a:pt x="2286" y="2109"/>
                  <a:pt x="3177" y="2109"/>
                </a:cubicBezTo>
                <a:cubicBezTo>
                  <a:pt x="4068" y="2109"/>
                  <a:pt x="4571" y="2330"/>
                  <a:pt x="5074" y="2537"/>
                </a:cubicBezTo>
                <a:lnTo>
                  <a:pt x="5328" y="2537"/>
                </a:lnTo>
                <a:cubicBezTo>
                  <a:pt x="4739" y="2310"/>
                  <a:pt x="4220" y="2014"/>
                  <a:pt x="3177" y="2014"/>
                </a:cubicBezTo>
                <a:cubicBezTo>
                  <a:pt x="2134" y="2014"/>
                  <a:pt x="1616" y="2310"/>
                  <a:pt x="1026" y="2537"/>
                </a:cubicBezTo>
                <a:close/>
                <a:moveTo>
                  <a:pt x="551" y="2537"/>
                </a:moveTo>
                <a:lnTo>
                  <a:pt x="551" y="2537"/>
                </a:lnTo>
                <a:cubicBezTo>
                  <a:pt x="1357" y="2323"/>
                  <a:pt x="1850" y="1865"/>
                  <a:pt x="3177" y="1865"/>
                </a:cubicBezTo>
                <a:cubicBezTo>
                  <a:pt x="4504" y="1865"/>
                  <a:pt x="4997" y="2323"/>
                  <a:pt x="5803" y="2537"/>
                </a:cubicBezTo>
                <a:lnTo>
                  <a:pt x="6355" y="2537"/>
                </a:lnTo>
                <a:cubicBezTo>
                  <a:pt x="5856" y="2494"/>
                  <a:pt x="5499" y="2347"/>
                  <a:pt x="5126" y="2193"/>
                </a:cubicBezTo>
                <a:cubicBezTo>
                  <a:pt x="4805" y="2061"/>
                  <a:pt x="4743" y="1856"/>
                  <a:pt x="4741" y="1506"/>
                </a:cubicBezTo>
                <a:cubicBezTo>
                  <a:pt x="5184" y="1543"/>
                  <a:pt x="5285" y="2106"/>
                  <a:pt x="5819" y="2312"/>
                </a:cubicBezTo>
                <a:cubicBezTo>
                  <a:pt x="5988" y="2382"/>
                  <a:pt x="6169" y="2413"/>
                  <a:pt x="6336" y="2426"/>
                </a:cubicBezTo>
                <a:cubicBezTo>
                  <a:pt x="6245" y="2391"/>
                  <a:pt x="6158" y="2346"/>
                  <a:pt x="6076" y="2292"/>
                </a:cubicBezTo>
                <a:cubicBezTo>
                  <a:pt x="5858" y="2243"/>
                  <a:pt x="5737" y="2200"/>
                  <a:pt x="5732" y="1790"/>
                </a:cubicBezTo>
                <a:cubicBezTo>
                  <a:pt x="6266" y="1807"/>
                  <a:pt x="6287" y="2134"/>
                  <a:pt x="6885" y="2134"/>
                </a:cubicBezTo>
                <a:cubicBezTo>
                  <a:pt x="7071" y="2134"/>
                  <a:pt x="7249" y="2097"/>
                  <a:pt x="7411" y="2031"/>
                </a:cubicBezTo>
                <a:cubicBezTo>
                  <a:pt x="7310" y="2043"/>
                  <a:pt x="7212" y="2044"/>
                  <a:pt x="7084" y="2023"/>
                </a:cubicBezTo>
                <a:cubicBezTo>
                  <a:pt x="6781" y="2069"/>
                  <a:pt x="6661" y="1870"/>
                  <a:pt x="6649" y="1565"/>
                </a:cubicBezTo>
                <a:cubicBezTo>
                  <a:pt x="6966" y="1573"/>
                  <a:pt x="7084" y="1658"/>
                  <a:pt x="7328" y="1658"/>
                </a:cubicBezTo>
                <a:cubicBezTo>
                  <a:pt x="7568" y="1658"/>
                  <a:pt x="7788" y="1505"/>
                  <a:pt x="7918" y="1249"/>
                </a:cubicBezTo>
                <a:lnTo>
                  <a:pt x="7967" y="1152"/>
                </a:lnTo>
                <a:lnTo>
                  <a:pt x="7862" y="1183"/>
                </a:lnTo>
                <a:cubicBezTo>
                  <a:pt x="7585" y="1263"/>
                  <a:pt x="7308" y="1054"/>
                  <a:pt x="7308" y="767"/>
                </a:cubicBezTo>
                <a:cubicBezTo>
                  <a:pt x="7308" y="395"/>
                  <a:pt x="7610" y="93"/>
                  <a:pt x="7982" y="93"/>
                </a:cubicBezTo>
                <a:cubicBezTo>
                  <a:pt x="8353" y="93"/>
                  <a:pt x="8655" y="395"/>
                  <a:pt x="8655" y="767"/>
                </a:cubicBezTo>
                <a:cubicBezTo>
                  <a:pt x="8655" y="1678"/>
                  <a:pt x="7887" y="2431"/>
                  <a:pt x="6900" y="2537"/>
                </a:cubicBezTo>
                <a:lnTo>
                  <a:pt x="7358" y="2537"/>
                </a:lnTo>
                <a:cubicBezTo>
                  <a:pt x="7828" y="2387"/>
                  <a:pt x="8221" y="2089"/>
                  <a:pt x="8468" y="1706"/>
                </a:cubicBezTo>
                <a:lnTo>
                  <a:pt x="8779" y="2537"/>
                </a:lnTo>
                <a:lnTo>
                  <a:pt x="8880" y="2537"/>
                </a:lnTo>
                <a:lnTo>
                  <a:pt x="8531" y="1602"/>
                </a:lnTo>
                <a:cubicBezTo>
                  <a:pt x="8670" y="1350"/>
                  <a:pt x="8749" y="1067"/>
                  <a:pt x="8750" y="767"/>
                </a:cubicBezTo>
                <a:lnTo>
                  <a:pt x="8750" y="767"/>
                </a:lnTo>
                <a:lnTo>
                  <a:pt x="8750" y="766"/>
                </a:lnTo>
                <a:lnTo>
                  <a:pt x="8750" y="766"/>
                </a:lnTo>
                <a:cubicBezTo>
                  <a:pt x="8749" y="343"/>
                  <a:pt x="8405" y="0"/>
                  <a:pt x="7982" y="0"/>
                </a:cubicBezTo>
                <a:cubicBezTo>
                  <a:pt x="7558" y="0"/>
                  <a:pt x="7214" y="343"/>
                  <a:pt x="7214" y="767"/>
                </a:cubicBezTo>
                <a:cubicBezTo>
                  <a:pt x="7214" y="1073"/>
                  <a:pt x="7475" y="1317"/>
                  <a:pt x="7783" y="1293"/>
                </a:cubicBezTo>
                <a:cubicBezTo>
                  <a:pt x="7669" y="1464"/>
                  <a:pt x="7504" y="1564"/>
                  <a:pt x="7328" y="1564"/>
                </a:cubicBezTo>
                <a:cubicBezTo>
                  <a:pt x="7089" y="1564"/>
                  <a:pt x="6965" y="1470"/>
                  <a:pt x="6600" y="1470"/>
                </a:cubicBezTo>
                <a:lnTo>
                  <a:pt x="6553" y="1470"/>
                </a:lnTo>
                <a:lnTo>
                  <a:pt x="6553" y="1517"/>
                </a:lnTo>
                <a:cubicBezTo>
                  <a:pt x="6553" y="1752"/>
                  <a:pt x="6614" y="1929"/>
                  <a:pt x="6728" y="2030"/>
                </a:cubicBezTo>
                <a:cubicBezTo>
                  <a:pt x="6299" y="1976"/>
                  <a:pt x="6239" y="1694"/>
                  <a:pt x="5684" y="1694"/>
                </a:cubicBezTo>
                <a:lnTo>
                  <a:pt x="5637" y="1694"/>
                </a:lnTo>
                <a:lnTo>
                  <a:pt x="5637" y="1742"/>
                </a:lnTo>
                <a:cubicBezTo>
                  <a:pt x="5637" y="1885"/>
                  <a:pt x="5644" y="2029"/>
                  <a:pt x="5695" y="2144"/>
                </a:cubicBezTo>
                <a:cubicBezTo>
                  <a:pt x="5303" y="1896"/>
                  <a:pt x="5177" y="1410"/>
                  <a:pt x="4693" y="1410"/>
                </a:cubicBezTo>
                <a:lnTo>
                  <a:pt x="4646" y="1410"/>
                </a:lnTo>
                <a:lnTo>
                  <a:pt x="4646" y="1457"/>
                </a:lnTo>
                <a:cubicBezTo>
                  <a:pt x="4646" y="1642"/>
                  <a:pt x="4647" y="1873"/>
                  <a:pt x="4777" y="2054"/>
                </a:cubicBezTo>
                <a:cubicBezTo>
                  <a:pt x="4366" y="1899"/>
                  <a:pt x="3892" y="1770"/>
                  <a:pt x="3177" y="1770"/>
                </a:cubicBezTo>
                <a:cubicBezTo>
                  <a:pt x="2252" y="1770"/>
                  <a:pt x="1730" y="1986"/>
                  <a:pt x="1225" y="2195"/>
                </a:cubicBezTo>
                <a:cubicBezTo>
                  <a:pt x="853" y="2348"/>
                  <a:pt x="498" y="2494"/>
                  <a:pt x="0" y="2537"/>
                </a:cubicBezTo>
                <a:lnTo>
                  <a:pt x="551" y="2537"/>
                </a:lnTo>
                <a:close/>
                <a:moveTo>
                  <a:pt x="4950" y="1685"/>
                </a:moveTo>
                <a:lnTo>
                  <a:pt x="4950" y="1685"/>
                </a:lnTo>
                <a:cubicBezTo>
                  <a:pt x="4915" y="1658"/>
                  <a:pt x="4879" y="1638"/>
                  <a:pt x="4839" y="1623"/>
                </a:cubicBezTo>
                <a:cubicBezTo>
                  <a:pt x="4841" y="1641"/>
                  <a:pt x="4842" y="1658"/>
                  <a:pt x="4844" y="1675"/>
                </a:cubicBezTo>
                <a:cubicBezTo>
                  <a:pt x="4906" y="1825"/>
                  <a:pt x="4997" y="1958"/>
                  <a:pt x="5110" y="2072"/>
                </a:cubicBezTo>
                <a:cubicBezTo>
                  <a:pt x="5128" y="2079"/>
                  <a:pt x="5148" y="2087"/>
                  <a:pt x="5166" y="2095"/>
                </a:cubicBezTo>
                <a:cubicBezTo>
                  <a:pt x="5255" y="2131"/>
                  <a:pt x="5343" y="2168"/>
                  <a:pt x="5432" y="2202"/>
                </a:cubicBezTo>
                <a:cubicBezTo>
                  <a:pt x="5223" y="2082"/>
                  <a:pt x="5052" y="1903"/>
                  <a:pt x="4950" y="1685"/>
                </a:cubicBezTo>
                <a:close/>
                <a:moveTo>
                  <a:pt x="6017" y="1963"/>
                </a:moveTo>
                <a:lnTo>
                  <a:pt x="6017" y="1963"/>
                </a:lnTo>
                <a:cubicBezTo>
                  <a:pt x="6008" y="1955"/>
                  <a:pt x="5995" y="1942"/>
                  <a:pt x="5981" y="1926"/>
                </a:cubicBezTo>
                <a:cubicBezTo>
                  <a:pt x="5936" y="1912"/>
                  <a:pt x="5888" y="1900"/>
                  <a:pt x="5831" y="1893"/>
                </a:cubicBezTo>
                <a:cubicBezTo>
                  <a:pt x="5831" y="1893"/>
                  <a:pt x="5831" y="1894"/>
                  <a:pt x="5831" y="1894"/>
                </a:cubicBezTo>
                <a:cubicBezTo>
                  <a:pt x="5882" y="1965"/>
                  <a:pt x="5942" y="2022"/>
                  <a:pt x="5952" y="2032"/>
                </a:cubicBezTo>
                <a:cubicBezTo>
                  <a:pt x="6348" y="2409"/>
                  <a:pt x="6915" y="2499"/>
                  <a:pt x="7471" y="2260"/>
                </a:cubicBezTo>
                <a:cubicBezTo>
                  <a:pt x="8092" y="1994"/>
                  <a:pt x="8509" y="1394"/>
                  <a:pt x="8509" y="766"/>
                </a:cubicBezTo>
                <a:cubicBezTo>
                  <a:pt x="8509" y="476"/>
                  <a:pt x="8273" y="239"/>
                  <a:pt x="7982" y="239"/>
                </a:cubicBezTo>
                <a:cubicBezTo>
                  <a:pt x="7691" y="239"/>
                  <a:pt x="7454" y="476"/>
                  <a:pt x="7454" y="767"/>
                </a:cubicBezTo>
                <a:cubicBezTo>
                  <a:pt x="7454" y="925"/>
                  <a:pt x="7583" y="1054"/>
                  <a:pt x="7741" y="1054"/>
                </a:cubicBezTo>
                <a:cubicBezTo>
                  <a:pt x="7900" y="1054"/>
                  <a:pt x="8029" y="925"/>
                  <a:pt x="8029" y="767"/>
                </a:cubicBezTo>
                <a:lnTo>
                  <a:pt x="8029" y="719"/>
                </a:lnTo>
                <a:lnTo>
                  <a:pt x="7934" y="719"/>
                </a:lnTo>
                <a:lnTo>
                  <a:pt x="7934" y="767"/>
                </a:lnTo>
                <a:cubicBezTo>
                  <a:pt x="7934" y="873"/>
                  <a:pt x="7848" y="959"/>
                  <a:pt x="7741" y="959"/>
                </a:cubicBezTo>
                <a:cubicBezTo>
                  <a:pt x="7635" y="959"/>
                  <a:pt x="7548" y="873"/>
                  <a:pt x="7548" y="767"/>
                </a:cubicBezTo>
                <a:cubicBezTo>
                  <a:pt x="7548" y="528"/>
                  <a:pt x="7743" y="333"/>
                  <a:pt x="7982" y="333"/>
                </a:cubicBezTo>
                <a:cubicBezTo>
                  <a:pt x="8220" y="333"/>
                  <a:pt x="8415" y="528"/>
                  <a:pt x="8415" y="767"/>
                </a:cubicBezTo>
                <a:cubicBezTo>
                  <a:pt x="8415" y="1356"/>
                  <a:pt x="8021" y="1922"/>
                  <a:pt x="7434" y="2173"/>
                </a:cubicBezTo>
                <a:cubicBezTo>
                  <a:pt x="6918" y="2395"/>
                  <a:pt x="6389" y="2316"/>
                  <a:pt x="6017" y="1963"/>
                </a:cubicBezTo>
                <a:close/>
                <a:moveTo>
                  <a:pt x="7767" y="1646"/>
                </a:moveTo>
                <a:lnTo>
                  <a:pt x="7767" y="1646"/>
                </a:lnTo>
                <a:cubicBezTo>
                  <a:pt x="7417" y="1903"/>
                  <a:pt x="6998" y="1798"/>
                  <a:pt x="6788" y="1670"/>
                </a:cubicBezTo>
                <a:cubicBezTo>
                  <a:pt x="6776" y="1669"/>
                  <a:pt x="6765" y="1667"/>
                  <a:pt x="6753" y="1666"/>
                </a:cubicBezTo>
                <a:cubicBezTo>
                  <a:pt x="6760" y="1707"/>
                  <a:pt x="6769" y="1743"/>
                  <a:pt x="6782" y="1775"/>
                </a:cubicBezTo>
                <a:cubicBezTo>
                  <a:pt x="7085" y="1938"/>
                  <a:pt x="7503" y="1957"/>
                  <a:pt x="7823" y="1723"/>
                </a:cubicBezTo>
                <a:cubicBezTo>
                  <a:pt x="8102" y="1518"/>
                  <a:pt x="8269" y="1160"/>
                  <a:pt x="8269" y="767"/>
                </a:cubicBezTo>
                <a:cubicBezTo>
                  <a:pt x="8269" y="608"/>
                  <a:pt x="8140" y="479"/>
                  <a:pt x="7982" y="479"/>
                </a:cubicBezTo>
                <a:cubicBezTo>
                  <a:pt x="7823" y="479"/>
                  <a:pt x="7694" y="608"/>
                  <a:pt x="7694" y="767"/>
                </a:cubicBezTo>
                <a:lnTo>
                  <a:pt x="7694" y="814"/>
                </a:lnTo>
                <a:lnTo>
                  <a:pt x="7789" y="814"/>
                </a:lnTo>
                <a:lnTo>
                  <a:pt x="7789" y="767"/>
                </a:lnTo>
                <a:cubicBezTo>
                  <a:pt x="7789" y="660"/>
                  <a:pt x="7875" y="574"/>
                  <a:pt x="7982" y="574"/>
                </a:cubicBezTo>
                <a:cubicBezTo>
                  <a:pt x="8088" y="574"/>
                  <a:pt x="8174" y="660"/>
                  <a:pt x="8174" y="767"/>
                </a:cubicBezTo>
                <a:cubicBezTo>
                  <a:pt x="8174" y="1130"/>
                  <a:pt x="8022" y="1459"/>
                  <a:pt x="7767" y="1646"/>
                </a:cubicBezTo>
                <a:close/>
                <a:moveTo>
                  <a:pt x="1668" y="2537"/>
                </a:moveTo>
                <a:lnTo>
                  <a:pt x="1668" y="2537"/>
                </a:lnTo>
                <a:lnTo>
                  <a:pt x="1950" y="2537"/>
                </a:lnTo>
                <a:cubicBezTo>
                  <a:pt x="2282" y="2429"/>
                  <a:pt x="2664" y="2349"/>
                  <a:pt x="3177" y="2349"/>
                </a:cubicBezTo>
                <a:cubicBezTo>
                  <a:pt x="3690" y="2349"/>
                  <a:pt x="4072" y="2429"/>
                  <a:pt x="4404" y="2537"/>
                </a:cubicBezTo>
                <a:lnTo>
                  <a:pt x="4686" y="2537"/>
                </a:lnTo>
                <a:cubicBezTo>
                  <a:pt x="4288" y="2384"/>
                  <a:pt x="3842" y="2254"/>
                  <a:pt x="3177" y="2254"/>
                </a:cubicBezTo>
                <a:cubicBezTo>
                  <a:pt x="2512" y="2254"/>
                  <a:pt x="2067" y="2384"/>
                  <a:pt x="1668" y="2537"/>
                </a:cubicBezTo>
                <a:close/>
                <a:moveTo>
                  <a:pt x="8317" y="2129"/>
                </a:moveTo>
                <a:lnTo>
                  <a:pt x="8317" y="2129"/>
                </a:lnTo>
                <a:lnTo>
                  <a:pt x="8485" y="2537"/>
                </a:lnTo>
                <a:lnTo>
                  <a:pt x="8383" y="2537"/>
                </a:lnTo>
                <a:lnTo>
                  <a:pt x="8281" y="2291"/>
                </a:lnTo>
                <a:cubicBezTo>
                  <a:pt x="8177" y="2384"/>
                  <a:pt x="8065" y="2466"/>
                  <a:pt x="7946" y="2537"/>
                </a:cubicBezTo>
                <a:lnTo>
                  <a:pt x="7748" y="2537"/>
                </a:lnTo>
                <a:cubicBezTo>
                  <a:pt x="7947" y="2434"/>
                  <a:pt x="8137" y="2298"/>
                  <a:pt x="8317" y="2129"/>
                </a:cubicBezTo>
                <a:close/>
              </a:path>
            </a:pathLst>
          </a:custGeom>
          <a:solidFill>
            <a:srgbClr val="D9D9D6">
              <a:alpha val="25000"/>
            </a:srgbClr>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pic>
        <p:nvPicPr>
          <p:cNvPr id="3074" name="Picture 2" descr="Martin Truex Jr., Furniture Row Racing Toyota pit action">
            <a:extLst>
              <a:ext uri="{FF2B5EF4-FFF2-40B4-BE49-F238E27FC236}">
                <a16:creationId xmlns:a16="http://schemas.microsoft.com/office/drawing/2014/main" id="{216D5364-DAC4-6613-B9CD-AFB411ADA5C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546" r="2713" b="11512"/>
          <a:stretch/>
        </p:blipFill>
        <p:spPr bwMode="auto">
          <a:xfrm>
            <a:off x="370702" y="1752600"/>
            <a:ext cx="4603336" cy="30556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11958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a:blip r:embed="rId2"/>
          <a:stretch>
            <a:fillRect/>
          </a:stretch>
        </p:blipFill>
        <p:spPr>
          <a:xfrm>
            <a:off x="0" y="0"/>
            <a:ext cx="4450342" cy="6858000"/>
          </a:xfrm>
          <a:prstGeom prst="rect">
            <a:avLst/>
          </a:prstGeom>
        </p:spPr>
      </p:pic>
      <p:pic>
        <p:nvPicPr>
          <p:cNvPr id="9" name="Picture 8">
            <a:extLst>
              <a:ext uri="{FF2B5EF4-FFF2-40B4-BE49-F238E27FC236}">
                <a16:creationId xmlns:a16="http://schemas.microsoft.com/office/drawing/2014/main" id="{FA9091A2-390C-9288-0AFB-BB2FDE753833}"/>
              </a:ext>
            </a:extLst>
          </p:cNvPr>
          <p:cNvPicPr>
            <a:picLocks noChangeAspect="1"/>
          </p:cNvPicPr>
          <p:nvPr/>
        </p:nvPicPr>
        <p:blipFill>
          <a:blip r:embed="rId3"/>
          <a:stretch>
            <a:fillRect/>
          </a:stretch>
        </p:blipFill>
        <p:spPr>
          <a:xfrm>
            <a:off x="10998805" y="5506945"/>
            <a:ext cx="933765" cy="1102925"/>
          </a:xfrm>
          <a:prstGeom prst="rect">
            <a:avLst/>
          </a:prstGeom>
        </p:spPr>
      </p:pic>
      <p:grpSp>
        <p:nvGrpSpPr>
          <p:cNvPr id="10" name="Group 9">
            <a:extLst>
              <a:ext uri="{FF2B5EF4-FFF2-40B4-BE49-F238E27FC236}">
                <a16:creationId xmlns:a16="http://schemas.microsoft.com/office/drawing/2014/main" id="{E85932A0-52EA-CA78-059C-64B772A0D0D0}"/>
              </a:ext>
            </a:extLst>
          </p:cNvPr>
          <p:cNvGrpSpPr/>
          <p:nvPr/>
        </p:nvGrpSpPr>
        <p:grpSpPr>
          <a:xfrm>
            <a:off x="5830140" y="1137525"/>
            <a:ext cx="5083666" cy="2612903"/>
            <a:chOff x="5830140" y="1130347"/>
            <a:chExt cx="5083666" cy="2612903"/>
          </a:xfrm>
        </p:grpSpPr>
        <p:sp>
          <p:nvSpPr>
            <p:cNvPr id="6" name="TextBox 5">
              <a:extLst>
                <a:ext uri="{FF2B5EF4-FFF2-40B4-BE49-F238E27FC236}">
                  <a16:creationId xmlns:a16="http://schemas.microsoft.com/office/drawing/2014/main" id="{3DF89D8B-DCA4-3F76-6E5B-FD1B002BDA17}"/>
                </a:ext>
              </a:extLst>
            </p:cNvPr>
            <p:cNvSpPr txBox="1"/>
            <p:nvPr/>
          </p:nvSpPr>
          <p:spPr>
            <a:xfrm>
              <a:off x="5830140" y="1130347"/>
              <a:ext cx="5083666" cy="36933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0" i="0" u="none" strike="noStrike" kern="1200" cap="none" spc="300" normalizeH="0" baseline="0" noProof="0">
                  <a:ln>
                    <a:noFill/>
                  </a:ln>
                  <a:solidFill>
                    <a:srgbClr val="69AAE3"/>
                  </a:solidFill>
                  <a:effectLst/>
                  <a:uLnTx/>
                  <a:uFillTx/>
                  <a:latin typeface="BentonSans Medium" panose="02000603000000020004" pitchFamily="2" charset="0"/>
                  <a:ea typeface="+mn-ea"/>
                  <a:cs typeface="+mn-cs"/>
                </a:rPr>
                <a:t>EXEC BEN UNPLUGGED</a:t>
              </a:r>
            </a:p>
          </p:txBody>
        </p:sp>
        <p:sp>
          <p:nvSpPr>
            <p:cNvPr id="7" name="TextBox 6">
              <a:extLst>
                <a:ext uri="{FF2B5EF4-FFF2-40B4-BE49-F238E27FC236}">
                  <a16:creationId xmlns:a16="http://schemas.microsoft.com/office/drawing/2014/main" id="{E908AC03-8CCE-CA04-4404-13D317BA498F}"/>
                </a:ext>
              </a:extLst>
            </p:cNvPr>
            <p:cNvSpPr txBox="1"/>
            <p:nvPr/>
          </p:nvSpPr>
          <p:spPr>
            <a:xfrm>
              <a:off x="5830140" y="2512144"/>
              <a:ext cx="4869815" cy="123110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000" b="0" i="0" u="none" strike="noStrike" kern="1200" cap="none" spc="0" normalizeH="0" baseline="0" noProof="0">
                  <a:ln>
                    <a:noFill/>
                  </a:ln>
                  <a:solidFill>
                    <a:srgbClr val="FFFFFF"/>
                  </a:solidFill>
                  <a:effectLst/>
                  <a:uLnTx/>
                  <a:uFillTx/>
                  <a:latin typeface="BentonSans Light"/>
                  <a:ea typeface="+mn-ea"/>
                  <a:cs typeface="+mn-cs"/>
                </a:rPr>
                <a:t>Q&amp;A</a:t>
              </a:r>
            </a:p>
          </p:txBody>
        </p:sp>
      </p:grpSp>
    </p:spTree>
    <p:extLst>
      <p:ext uri="{BB962C8B-B14F-4D97-AF65-F5344CB8AC3E}">
        <p14:creationId xmlns:p14="http://schemas.microsoft.com/office/powerpoint/2010/main" val="297911809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rotWithShape="1">
          <a:blip r:embed="rId2"/>
          <a:srcRect l="486" r="39298"/>
          <a:stretch/>
        </p:blipFill>
        <p:spPr>
          <a:xfrm>
            <a:off x="9512187" y="0"/>
            <a:ext cx="2679813" cy="6858000"/>
          </a:xfrm>
          <a:prstGeom prst="rect">
            <a:avLst/>
          </a:prstGeom>
        </p:spPr>
      </p:pic>
      <p:pic>
        <p:nvPicPr>
          <p:cNvPr id="3" name="Picture 2">
            <a:extLst>
              <a:ext uri="{FF2B5EF4-FFF2-40B4-BE49-F238E27FC236}">
                <a16:creationId xmlns:a16="http://schemas.microsoft.com/office/drawing/2014/main" id="{E2E11E99-A81B-C638-28EE-0BC86E7BF2EF}"/>
              </a:ext>
            </a:extLst>
          </p:cNvPr>
          <p:cNvPicPr>
            <a:picLocks noChangeAspect="1"/>
          </p:cNvPicPr>
          <p:nvPr/>
        </p:nvPicPr>
        <p:blipFill rotWithShape="1">
          <a:blip r:embed="rId2"/>
          <a:srcRect l="29541" r="8954"/>
          <a:stretch/>
        </p:blipFill>
        <p:spPr>
          <a:xfrm>
            <a:off x="0" y="0"/>
            <a:ext cx="2737184" cy="6858000"/>
          </a:xfrm>
          <a:prstGeom prst="rect">
            <a:avLst/>
          </a:prstGeom>
        </p:spPr>
      </p:pic>
      <p:sp>
        <p:nvSpPr>
          <p:cNvPr id="10" name="TextBox 9">
            <a:extLst>
              <a:ext uri="{FF2B5EF4-FFF2-40B4-BE49-F238E27FC236}">
                <a16:creationId xmlns:a16="http://schemas.microsoft.com/office/drawing/2014/main" id="{7C123359-7C73-5C0C-3883-B003884F02E2}"/>
              </a:ext>
            </a:extLst>
          </p:cNvPr>
          <p:cNvSpPr txBox="1"/>
          <p:nvPr/>
        </p:nvSpPr>
        <p:spPr>
          <a:xfrm>
            <a:off x="4672326" y="1933494"/>
            <a:ext cx="2847347" cy="2991012"/>
          </a:xfrm>
          <a:prstGeom prst="rect">
            <a:avLst/>
          </a:prstGeom>
          <a:noFill/>
        </p:spPr>
        <p:txBody>
          <a:bodyPr wrap="square" lIns="0" tIns="0" rIns="0" bIns="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8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rPr>
              <a:t>2023</a:t>
            </a:r>
            <a:endParaRPr kumimoji="0" lang="en-US" sz="66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endParaRP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BentonSans Medium" panose="02000603000000020004" pitchFamily="2" charset="0"/>
                <a:ea typeface="+mn-ea"/>
                <a:cs typeface="+mn-cs"/>
              </a:rPr>
              <a:t>EXECUTIV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600" b="0" i="0" u="none" strike="noStrike" kern="1200" cap="none" spc="600" normalizeH="0" baseline="0" noProof="0">
                <a:ln>
                  <a:noFill/>
                </a:ln>
                <a:solidFill>
                  <a:srgbClr val="FFFFFF"/>
                </a:solidFill>
                <a:effectLst/>
                <a:uLnTx/>
                <a:uFillTx/>
                <a:latin typeface="BentonSans Medium" panose="02000603000000020004" pitchFamily="2" charset="0"/>
                <a:ea typeface="+mn-ea"/>
                <a:cs typeface="+mn-cs"/>
              </a:rPr>
              <a:t>BEN</a:t>
            </a:r>
          </a:p>
          <a:p>
            <a:pPr marL="0" marR="0" lvl="0" indent="0" algn="ctr" defTabSz="914400" rtl="0" eaLnBrk="1" fontAlgn="auto" latinLnBrk="0" hangingPunct="1">
              <a:lnSpc>
                <a:spcPct val="50000"/>
              </a:lnSpc>
              <a:spcBef>
                <a:spcPts val="0"/>
              </a:spcBef>
              <a:spcAft>
                <a:spcPts val="0"/>
              </a:spcAft>
              <a:buClrTx/>
              <a:buSzTx/>
              <a:buFontTx/>
              <a:buNone/>
              <a:tabLst/>
              <a:defRPr/>
            </a:pPr>
            <a:r>
              <a:rPr kumimoji="0" lang="en-US" sz="3600" b="0" i="0" u="none" strike="noStrike" kern="1200" cap="none" spc="0" normalizeH="0" baseline="0" noProof="0">
                <a:ln>
                  <a:noFill/>
                </a:ln>
                <a:solidFill>
                  <a:srgbClr val="6AABE4"/>
                </a:solidFill>
                <a:effectLst/>
                <a:uLnTx/>
                <a:uFillTx/>
                <a:latin typeface="BentonSans Light"/>
                <a:ea typeface="+mn-ea"/>
                <a:cs typeface="+mn-cs"/>
              </a:rPr>
              <a:t>Global Forum</a:t>
            </a:r>
          </a:p>
        </p:txBody>
      </p:sp>
    </p:spTree>
    <p:extLst>
      <p:ext uri="{BB962C8B-B14F-4D97-AF65-F5344CB8AC3E}">
        <p14:creationId xmlns:p14="http://schemas.microsoft.com/office/powerpoint/2010/main" val="31831123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rotWithShape="1">
          <a:blip r:embed="rId2"/>
          <a:srcRect l="486" r="39298"/>
          <a:stretch/>
        </p:blipFill>
        <p:spPr>
          <a:xfrm>
            <a:off x="9512187" y="0"/>
            <a:ext cx="2679813" cy="6858000"/>
          </a:xfrm>
          <a:prstGeom prst="rect">
            <a:avLst/>
          </a:prstGeom>
        </p:spPr>
      </p:pic>
      <p:pic>
        <p:nvPicPr>
          <p:cNvPr id="3" name="Picture 2">
            <a:extLst>
              <a:ext uri="{FF2B5EF4-FFF2-40B4-BE49-F238E27FC236}">
                <a16:creationId xmlns:a16="http://schemas.microsoft.com/office/drawing/2014/main" id="{E2E11E99-A81B-C638-28EE-0BC86E7BF2EF}"/>
              </a:ext>
            </a:extLst>
          </p:cNvPr>
          <p:cNvPicPr>
            <a:picLocks noChangeAspect="1"/>
          </p:cNvPicPr>
          <p:nvPr/>
        </p:nvPicPr>
        <p:blipFill rotWithShape="1">
          <a:blip r:embed="rId2"/>
          <a:srcRect l="29541" r="8954"/>
          <a:stretch/>
        </p:blipFill>
        <p:spPr>
          <a:xfrm>
            <a:off x="0" y="0"/>
            <a:ext cx="2737184" cy="6858000"/>
          </a:xfrm>
          <a:prstGeom prst="rect">
            <a:avLst/>
          </a:prstGeom>
        </p:spPr>
      </p:pic>
      <p:sp>
        <p:nvSpPr>
          <p:cNvPr id="10" name="TextBox 9">
            <a:extLst>
              <a:ext uri="{FF2B5EF4-FFF2-40B4-BE49-F238E27FC236}">
                <a16:creationId xmlns:a16="http://schemas.microsoft.com/office/drawing/2014/main" id="{7C123359-7C73-5C0C-3883-B003884F02E2}"/>
              </a:ext>
            </a:extLst>
          </p:cNvPr>
          <p:cNvSpPr txBox="1"/>
          <p:nvPr/>
        </p:nvSpPr>
        <p:spPr>
          <a:xfrm>
            <a:off x="4672326" y="609791"/>
            <a:ext cx="2847347" cy="999248"/>
          </a:xfrm>
          <a:prstGeom prst="rect">
            <a:avLst/>
          </a:prstGeom>
          <a:noFill/>
        </p:spPr>
        <p:txBody>
          <a:bodyPr wrap="square" lIns="0" tIns="0" rIns="0" bIns="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8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rPr>
              <a:t>2021</a:t>
            </a:r>
            <a:endParaRPr kumimoji="0" lang="en-US" sz="66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endParaRPr>
          </a:p>
        </p:txBody>
      </p:sp>
      <p:pic>
        <p:nvPicPr>
          <p:cNvPr id="15" name="Picture 14">
            <a:extLst>
              <a:ext uri="{FF2B5EF4-FFF2-40B4-BE49-F238E27FC236}">
                <a16:creationId xmlns:a16="http://schemas.microsoft.com/office/drawing/2014/main" id="{28300A41-7CE9-A3E2-D18A-509AE8A20AE0}"/>
              </a:ext>
            </a:extLst>
          </p:cNvPr>
          <p:cNvPicPr>
            <a:picLocks noChangeAspect="1"/>
          </p:cNvPicPr>
          <p:nvPr/>
        </p:nvPicPr>
        <p:blipFill>
          <a:blip r:embed="rId3"/>
          <a:stretch>
            <a:fillRect/>
          </a:stretch>
        </p:blipFill>
        <p:spPr>
          <a:xfrm>
            <a:off x="6780816" y="1529141"/>
            <a:ext cx="4292943" cy="2403668"/>
          </a:xfrm>
          <a:prstGeom prst="rect">
            <a:avLst/>
          </a:prstGeom>
        </p:spPr>
      </p:pic>
      <p:pic>
        <p:nvPicPr>
          <p:cNvPr id="18" name="Picture 17">
            <a:extLst>
              <a:ext uri="{FF2B5EF4-FFF2-40B4-BE49-F238E27FC236}">
                <a16:creationId xmlns:a16="http://schemas.microsoft.com/office/drawing/2014/main" id="{D5E66C14-DA4E-57CE-F906-C0FECD731FF2}"/>
              </a:ext>
            </a:extLst>
          </p:cNvPr>
          <p:cNvPicPr>
            <a:picLocks noChangeAspect="1"/>
          </p:cNvPicPr>
          <p:nvPr/>
        </p:nvPicPr>
        <p:blipFill rotWithShape="1">
          <a:blip r:embed="rId4"/>
          <a:srcRect r="47"/>
          <a:stretch/>
        </p:blipFill>
        <p:spPr>
          <a:xfrm>
            <a:off x="1118241" y="1529141"/>
            <a:ext cx="4414907" cy="2403668"/>
          </a:xfrm>
          <a:prstGeom prst="rect">
            <a:avLst/>
          </a:prstGeom>
        </p:spPr>
      </p:pic>
      <p:pic>
        <p:nvPicPr>
          <p:cNvPr id="7" name="Picture 6">
            <a:extLst>
              <a:ext uri="{FF2B5EF4-FFF2-40B4-BE49-F238E27FC236}">
                <a16:creationId xmlns:a16="http://schemas.microsoft.com/office/drawing/2014/main" id="{4B4E653E-C4BD-A377-C600-782F983B6759}"/>
              </a:ext>
            </a:extLst>
          </p:cNvPr>
          <p:cNvPicPr>
            <a:picLocks noChangeAspect="1"/>
          </p:cNvPicPr>
          <p:nvPr/>
        </p:nvPicPr>
        <p:blipFill>
          <a:blip r:embed="rId5"/>
          <a:stretch>
            <a:fillRect/>
          </a:stretch>
        </p:blipFill>
        <p:spPr>
          <a:xfrm>
            <a:off x="3949527" y="4193570"/>
            <a:ext cx="4292943" cy="2403667"/>
          </a:xfrm>
          <a:prstGeom prst="rect">
            <a:avLst/>
          </a:prstGeom>
        </p:spPr>
      </p:pic>
    </p:spTree>
    <p:extLst>
      <p:ext uri="{BB962C8B-B14F-4D97-AF65-F5344CB8AC3E}">
        <p14:creationId xmlns:p14="http://schemas.microsoft.com/office/powerpoint/2010/main" val="35057662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rotWithShape="1">
          <a:blip r:embed="rId2"/>
          <a:srcRect l="486" r="39298"/>
          <a:stretch/>
        </p:blipFill>
        <p:spPr>
          <a:xfrm>
            <a:off x="9512187" y="0"/>
            <a:ext cx="2679813" cy="6858000"/>
          </a:xfrm>
          <a:prstGeom prst="rect">
            <a:avLst/>
          </a:prstGeom>
        </p:spPr>
      </p:pic>
      <p:pic>
        <p:nvPicPr>
          <p:cNvPr id="3" name="Picture 2">
            <a:extLst>
              <a:ext uri="{FF2B5EF4-FFF2-40B4-BE49-F238E27FC236}">
                <a16:creationId xmlns:a16="http://schemas.microsoft.com/office/drawing/2014/main" id="{E2E11E99-A81B-C638-28EE-0BC86E7BF2EF}"/>
              </a:ext>
            </a:extLst>
          </p:cNvPr>
          <p:cNvPicPr>
            <a:picLocks noChangeAspect="1"/>
          </p:cNvPicPr>
          <p:nvPr/>
        </p:nvPicPr>
        <p:blipFill rotWithShape="1">
          <a:blip r:embed="rId2"/>
          <a:srcRect l="29541" r="8954"/>
          <a:stretch/>
        </p:blipFill>
        <p:spPr>
          <a:xfrm>
            <a:off x="0" y="0"/>
            <a:ext cx="2737184" cy="6858000"/>
          </a:xfrm>
          <a:prstGeom prst="rect">
            <a:avLst/>
          </a:prstGeom>
        </p:spPr>
      </p:pic>
      <p:sp>
        <p:nvSpPr>
          <p:cNvPr id="10" name="TextBox 9">
            <a:extLst>
              <a:ext uri="{FF2B5EF4-FFF2-40B4-BE49-F238E27FC236}">
                <a16:creationId xmlns:a16="http://schemas.microsoft.com/office/drawing/2014/main" id="{7C123359-7C73-5C0C-3883-B003884F02E2}"/>
              </a:ext>
            </a:extLst>
          </p:cNvPr>
          <p:cNvSpPr txBox="1"/>
          <p:nvPr/>
        </p:nvSpPr>
        <p:spPr>
          <a:xfrm>
            <a:off x="4672326" y="609791"/>
            <a:ext cx="2847347" cy="999248"/>
          </a:xfrm>
          <a:prstGeom prst="rect">
            <a:avLst/>
          </a:prstGeom>
          <a:noFill/>
        </p:spPr>
        <p:txBody>
          <a:bodyPr wrap="square" lIns="0" tIns="0" rIns="0" bIns="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8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rPr>
              <a:t>2021</a:t>
            </a:r>
            <a:endParaRPr kumimoji="0" lang="en-US" sz="66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endParaRPr>
          </a:p>
        </p:txBody>
      </p:sp>
      <p:pic>
        <p:nvPicPr>
          <p:cNvPr id="9" name="Picture 8">
            <a:extLst>
              <a:ext uri="{FF2B5EF4-FFF2-40B4-BE49-F238E27FC236}">
                <a16:creationId xmlns:a16="http://schemas.microsoft.com/office/drawing/2014/main" id="{DEA05AEA-3F2B-9217-6061-52663B61309C}"/>
              </a:ext>
            </a:extLst>
          </p:cNvPr>
          <p:cNvPicPr>
            <a:picLocks noChangeAspect="1"/>
          </p:cNvPicPr>
          <p:nvPr/>
        </p:nvPicPr>
        <p:blipFill>
          <a:blip r:embed="rId3"/>
          <a:stretch>
            <a:fillRect/>
          </a:stretch>
        </p:blipFill>
        <p:spPr>
          <a:xfrm>
            <a:off x="6363620" y="1729104"/>
            <a:ext cx="4331983" cy="2501275"/>
          </a:xfrm>
          <a:prstGeom prst="rect">
            <a:avLst/>
          </a:prstGeom>
        </p:spPr>
      </p:pic>
      <p:pic>
        <p:nvPicPr>
          <p:cNvPr id="5" name="Picture 4">
            <a:extLst>
              <a:ext uri="{FF2B5EF4-FFF2-40B4-BE49-F238E27FC236}">
                <a16:creationId xmlns:a16="http://schemas.microsoft.com/office/drawing/2014/main" id="{1FB6A406-9728-E17C-BCB6-66ACB1BD2853}"/>
              </a:ext>
            </a:extLst>
          </p:cNvPr>
          <p:cNvPicPr>
            <a:picLocks noChangeAspect="1"/>
          </p:cNvPicPr>
          <p:nvPr/>
        </p:nvPicPr>
        <p:blipFill>
          <a:blip r:embed="rId4"/>
          <a:stretch>
            <a:fillRect/>
          </a:stretch>
        </p:blipFill>
        <p:spPr>
          <a:xfrm>
            <a:off x="1354644" y="1729104"/>
            <a:ext cx="4335048" cy="2501274"/>
          </a:xfrm>
          <a:prstGeom prst="rect">
            <a:avLst/>
          </a:prstGeom>
        </p:spPr>
      </p:pic>
      <p:pic>
        <p:nvPicPr>
          <p:cNvPr id="8" name="Picture 7">
            <a:extLst>
              <a:ext uri="{FF2B5EF4-FFF2-40B4-BE49-F238E27FC236}">
                <a16:creationId xmlns:a16="http://schemas.microsoft.com/office/drawing/2014/main" id="{8DD7BEBD-F5CB-94C0-A91C-BE28BB35F87C}"/>
              </a:ext>
            </a:extLst>
          </p:cNvPr>
          <p:cNvPicPr>
            <a:picLocks noChangeAspect="1"/>
          </p:cNvPicPr>
          <p:nvPr/>
        </p:nvPicPr>
        <p:blipFill>
          <a:blip r:embed="rId5"/>
          <a:stretch>
            <a:fillRect/>
          </a:stretch>
        </p:blipFill>
        <p:spPr>
          <a:xfrm>
            <a:off x="3522168" y="4315511"/>
            <a:ext cx="4473738" cy="2457356"/>
          </a:xfrm>
          <a:prstGeom prst="rect">
            <a:avLst/>
          </a:prstGeom>
        </p:spPr>
      </p:pic>
    </p:spTree>
    <p:extLst>
      <p:ext uri="{BB962C8B-B14F-4D97-AF65-F5344CB8AC3E}">
        <p14:creationId xmlns:p14="http://schemas.microsoft.com/office/powerpoint/2010/main" val="34419928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rotWithShape="1">
          <a:blip r:embed="rId2"/>
          <a:srcRect l="486" r="39298"/>
          <a:stretch/>
        </p:blipFill>
        <p:spPr>
          <a:xfrm>
            <a:off x="9512187" y="0"/>
            <a:ext cx="2679813" cy="6858000"/>
          </a:xfrm>
          <a:prstGeom prst="rect">
            <a:avLst/>
          </a:prstGeom>
        </p:spPr>
      </p:pic>
      <p:pic>
        <p:nvPicPr>
          <p:cNvPr id="3" name="Picture 2">
            <a:extLst>
              <a:ext uri="{FF2B5EF4-FFF2-40B4-BE49-F238E27FC236}">
                <a16:creationId xmlns:a16="http://schemas.microsoft.com/office/drawing/2014/main" id="{E2E11E99-A81B-C638-28EE-0BC86E7BF2EF}"/>
              </a:ext>
            </a:extLst>
          </p:cNvPr>
          <p:cNvPicPr>
            <a:picLocks noChangeAspect="1"/>
          </p:cNvPicPr>
          <p:nvPr/>
        </p:nvPicPr>
        <p:blipFill rotWithShape="1">
          <a:blip r:embed="rId2"/>
          <a:srcRect l="29541" r="8954"/>
          <a:stretch/>
        </p:blipFill>
        <p:spPr>
          <a:xfrm>
            <a:off x="0" y="0"/>
            <a:ext cx="2737184" cy="6858000"/>
          </a:xfrm>
          <a:prstGeom prst="rect">
            <a:avLst/>
          </a:prstGeom>
        </p:spPr>
      </p:pic>
      <p:sp>
        <p:nvSpPr>
          <p:cNvPr id="10" name="TextBox 9">
            <a:extLst>
              <a:ext uri="{FF2B5EF4-FFF2-40B4-BE49-F238E27FC236}">
                <a16:creationId xmlns:a16="http://schemas.microsoft.com/office/drawing/2014/main" id="{7C123359-7C73-5C0C-3883-B003884F02E2}"/>
              </a:ext>
            </a:extLst>
          </p:cNvPr>
          <p:cNvSpPr txBox="1"/>
          <p:nvPr/>
        </p:nvSpPr>
        <p:spPr>
          <a:xfrm>
            <a:off x="4672326" y="1933494"/>
            <a:ext cx="2847347" cy="2991012"/>
          </a:xfrm>
          <a:prstGeom prst="rect">
            <a:avLst/>
          </a:prstGeom>
          <a:noFill/>
        </p:spPr>
        <p:txBody>
          <a:bodyPr wrap="square" lIns="0" tIns="0" rIns="0" bIns="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8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rPr>
              <a:t>2023</a:t>
            </a:r>
            <a:endParaRPr kumimoji="0" lang="en-US" sz="66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endParaRP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BentonSans Medium" panose="02000603000000020004" pitchFamily="2" charset="0"/>
                <a:ea typeface="+mn-ea"/>
                <a:cs typeface="+mn-cs"/>
              </a:rPr>
              <a:t>EXECUTIV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600" b="0" i="0" u="none" strike="noStrike" kern="1200" cap="none" spc="600" normalizeH="0" baseline="0" noProof="0">
                <a:ln>
                  <a:noFill/>
                </a:ln>
                <a:solidFill>
                  <a:srgbClr val="FFFFFF"/>
                </a:solidFill>
                <a:effectLst/>
                <a:uLnTx/>
                <a:uFillTx/>
                <a:latin typeface="BentonSans Medium" panose="02000603000000020004" pitchFamily="2" charset="0"/>
                <a:ea typeface="+mn-ea"/>
                <a:cs typeface="+mn-cs"/>
              </a:rPr>
              <a:t>BEN</a:t>
            </a:r>
          </a:p>
          <a:p>
            <a:pPr marL="0" marR="0" lvl="0" indent="0" algn="ctr" defTabSz="914400" rtl="0" eaLnBrk="1" fontAlgn="auto" latinLnBrk="0" hangingPunct="1">
              <a:lnSpc>
                <a:spcPct val="50000"/>
              </a:lnSpc>
              <a:spcBef>
                <a:spcPts val="0"/>
              </a:spcBef>
              <a:spcAft>
                <a:spcPts val="0"/>
              </a:spcAft>
              <a:buClrTx/>
              <a:buSzTx/>
              <a:buFontTx/>
              <a:buNone/>
              <a:tabLst/>
              <a:defRPr/>
            </a:pPr>
            <a:r>
              <a:rPr kumimoji="0" lang="en-US" sz="3600" b="0" i="0" u="none" strike="noStrike" kern="1200" cap="none" spc="0" normalizeH="0" baseline="0" noProof="0">
                <a:ln>
                  <a:noFill/>
                </a:ln>
                <a:solidFill>
                  <a:srgbClr val="6AABE4"/>
                </a:solidFill>
                <a:effectLst/>
                <a:uLnTx/>
                <a:uFillTx/>
                <a:latin typeface="BentonSans Light"/>
                <a:ea typeface="+mn-ea"/>
                <a:cs typeface="+mn-cs"/>
              </a:rPr>
              <a:t>Global Forum</a:t>
            </a:r>
          </a:p>
        </p:txBody>
      </p:sp>
    </p:spTree>
    <p:extLst>
      <p:ext uri="{BB962C8B-B14F-4D97-AF65-F5344CB8AC3E}">
        <p14:creationId xmlns:p14="http://schemas.microsoft.com/office/powerpoint/2010/main" val="7206863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rotWithShape="1">
          <a:blip r:embed="rId2"/>
          <a:srcRect t="45952"/>
          <a:stretch/>
        </p:blipFill>
        <p:spPr>
          <a:xfrm>
            <a:off x="0" y="1545691"/>
            <a:ext cx="3937407" cy="3279402"/>
          </a:xfrm>
          <a:prstGeom prst="rect">
            <a:avLst/>
          </a:prstGeom>
        </p:spPr>
      </p:pic>
      <p:sp>
        <p:nvSpPr>
          <p:cNvPr id="6" name="TextBox 5">
            <a:extLst>
              <a:ext uri="{FF2B5EF4-FFF2-40B4-BE49-F238E27FC236}">
                <a16:creationId xmlns:a16="http://schemas.microsoft.com/office/drawing/2014/main" id="{3DF89D8B-DCA4-3F76-6E5B-FD1B002BDA17}"/>
              </a:ext>
            </a:extLst>
          </p:cNvPr>
          <p:cNvSpPr txBox="1"/>
          <p:nvPr/>
        </p:nvSpPr>
        <p:spPr>
          <a:xfrm>
            <a:off x="2201899" y="5092682"/>
            <a:ext cx="4050633" cy="106182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300" normalizeH="0" baseline="0" noProof="0">
                <a:ln>
                  <a:noFill/>
                </a:ln>
                <a:solidFill>
                  <a:srgbClr val="FFFFFF"/>
                </a:solidFill>
                <a:effectLst/>
                <a:uLnTx/>
                <a:uFillTx/>
                <a:latin typeface="BentonSans Medium" panose="02000603000000020004" pitchFamily="2" charset="0"/>
                <a:ea typeface="+mn-ea"/>
                <a:cs typeface="+mn-cs"/>
              </a:rPr>
              <a:t>STEVE SQUERI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BentonSans Light"/>
                <a:ea typeface="+mn-ea"/>
                <a:cs typeface="+mn-cs"/>
              </a:rPr>
              <a:t>Chairman and </a:t>
            </a:r>
            <a:br>
              <a:rPr kumimoji="0" lang="en-US" sz="1800" b="0" i="0" u="none" strike="noStrike" kern="1200" cap="none" spc="0" normalizeH="0" baseline="0" noProof="0">
                <a:ln>
                  <a:noFill/>
                </a:ln>
                <a:solidFill>
                  <a:srgbClr val="FFFFFF"/>
                </a:solidFill>
                <a:effectLst/>
                <a:uLnTx/>
                <a:uFillTx/>
                <a:latin typeface="BentonSans Light"/>
                <a:ea typeface="+mn-ea"/>
                <a:cs typeface="+mn-cs"/>
              </a:rPr>
            </a:br>
            <a:r>
              <a:rPr kumimoji="0" lang="en-US" sz="1800" b="0" i="0" u="none" strike="noStrike" kern="1200" cap="none" spc="0" normalizeH="0" baseline="0" noProof="0">
                <a:ln>
                  <a:noFill/>
                </a:ln>
                <a:solidFill>
                  <a:srgbClr val="FFFFFF"/>
                </a:solidFill>
                <a:effectLst/>
                <a:uLnTx/>
                <a:uFillTx/>
                <a:latin typeface="BentonSans Light"/>
                <a:ea typeface="+mn-ea"/>
                <a:cs typeface="+mn-cs"/>
              </a:rPr>
              <a:t>Chief Executive Officer </a:t>
            </a:r>
          </a:p>
        </p:txBody>
      </p:sp>
      <p:sp>
        <p:nvSpPr>
          <p:cNvPr id="7" name="TextBox 6">
            <a:extLst>
              <a:ext uri="{FF2B5EF4-FFF2-40B4-BE49-F238E27FC236}">
                <a16:creationId xmlns:a16="http://schemas.microsoft.com/office/drawing/2014/main" id="{E908AC03-8CCE-CA04-4404-13D317BA498F}"/>
              </a:ext>
            </a:extLst>
          </p:cNvPr>
          <p:cNvSpPr txBox="1"/>
          <p:nvPr/>
        </p:nvSpPr>
        <p:spPr>
          <a:xfrm>
            <a:off x="597245" y="448048"/>
            <a:ext cx="4899312" cy="664797"/>
          </a:xfrm>
          <a:prstGeom prst="rect">
            <a:avLst/>
          </a:prstGeom>
          <a:noFill/>
        </p:spPr>
        <p:txBody>
          <a:bodyPr wrap="square" lIns="0" tIns="0" rIns="0" bIns="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a:ln>
                  <a:noFill/>
                </a:ln>
                <a:solidFill>
                  <a:srgbClr val="FFFFFF"/>
                </a:solidFill>
                <a:effectLst/>
                <a:uLnTx/>
                <a:uFillTx/>
                <a:latin typeface="BentonSans Light"/>
                <a:ea typeface="+mn-ea"/>
                <a:cs typeface="+mn-cs"/>
              </a:rPr>
              <a:t>FIRESIDE CHAT</a:t>
            </a:r>
          </a:p>
        </p:txBody>
      </p:sp>
      <p:pic>
        <p:nvPicPr>
          <p:cNvPr id="9" name="Picture 8">
            <a:extLst>
              <a:ext uri="{FF2B5EF4-FFF2-40B4-BE49-F238E27FC236}">
                <a16:creationId xmlns:a16="http://schemas.microsoft.com/office/drawing/2014/main" id="{FA9091A2-390C-9288-0AFB-BB2FDE753833}"/>
              </a:ext>
            </a:extLst>
          </p:cNvPr>
          <p:cNvPicPr>
            <a:picLocks noChangeAspect="1"/>
          </p:cNvPicPr>
          <p:nvPr/>
        </p:nvPicPr>
        <p:blipFill>
          <a:blip r:embed="rId3"/>
          <a:stretch>
            <a:fillRect/>
          </a:stretch>
        </p:blipFill>
        <p:spPr>
          <a:xfrm>
            <a:off x="10998805" y="207293"/>
            <a:ext cx="933765" cy="1102925"/>
          </a:xfrm>
          <a:prstGeom prst="rect">
            <a:avLst/>
          </a:prstGeom>
        </p:spPr>
      </p:pic>
      <p:sp>
        <p:nvSpPr>
          <p:cNvPr id="13" name="TextBox 12">
            <a:extLst>
              <a:ext uri="{FF2B5EF4-FFF2-40B4-BE49-F238E27FC236}">
                <a16:creationId xmlns:a16="http://schemas.microsoft.com/office/drawing/2014/main" id="{56266A6D-F8EC-E16E-0B06-260128374D9B}"/>
              </a:ext>
            </a:extLst>
          </p:cNvPr>
          <p:cNvSpPr txBox="1"/>
          <p:nvPr/>
        </p:nvSpPr>
        <p:spPr>
          <a:xfrm>
            <a:off x="6698263" y="5092682"/>
            <a:ext cx="4753431" cy="133882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300" normalizeH="0" baseline="0" noProof="0">
                <a:ln>
                  <a:noFill/>
                </a:ln>
                <a:solidFill>
                  <a:srgbClr val="FFFFFF"/>
                </a:solidFill>
                <a:effectLst/>
                <a:uLnTx/>
                <a:uFillTx/>
                <a:latin typeface="BentonSans Medium" panose="02000603000000020004" pitchFamily="2" charset="0"/>
                <a:ea typeface="+mn-ea"/>
                <a:cs typeface="+mn-cs"/>
              </a:rPr>
              <a:t>SHURAWL SIBBL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BentonSans Light"/>
                <a:ea typeface="+mn-ea"/>
                <a:cs typeface="+mn-cs"/>
              </a:rPr>
              <a:t>Executive Vice President, </a:t>
            </a:r>
            <a:br>
              <a:rPr kumimoji="0" lang="en-US" sz="1800" b="0" i="0" u="none" strike="noStrike" kern="1200" cap="none" spc="0" normalizeH="0" baseline="0" noProof="0">
                <a:ln>
                  <a:noFill/>
                </a:ln>
                <a:solidFill>
                  <a:srgbClr val="FFFFFF"/>
                </a:solidFill>
                <a:effectLst/>
                <a:uLnTx/>
                <a:uFillTx/>
                <a:latin typeface="BentonSans Light"/>
                <a:ea typeface="+mn-ea"/>
                <a:cs typeface="+mn-cs"/>
              </a:rPr>
            </a:br>
            <a:r>
              <a:rPr kumimoji="0" lang="en-US" sz="1800" b="0" i="0" u="none" strike="noStrike" kern="1200" cap="none" spc="0" normalizeH="0" baseline="0" noProof="0">
                <a:ln>
                  <a:noFill/>
                </a:ln>
                <a:solidFill>
                  <a:srgbClr val="FFFFFF"/>
                </a:solidFill>
                <a:effectLst/>
                <a:uLnTx/>
                <a:uFillTx/>
                <a:latin typeface="BentonSans Light"/>
                <a:ea typeface="+mn-ea"/>
                <a:cs typeface="+mn-cs"/>
              </a:rPr>
              <a:t>Colleague Strategic Partn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BentonSans Light"/>
                <a:ea typeface="+mn-ea"/>
                <a:cs typeface="+mn-cs"/>
              </a:rPr>
              <a:t>Colleague Experience Group</a:t>
            </a:r>
          </a:p>
        </p:txBody>
      </p:sp>
      <p:pic>
        <p:nvPicPr>
          <p:cNvPr id="15" name="Picture 14">
            <a:extLst>
              <a:ext uri="{FF2B5EF4-FFF2-40B4-BE49-F238E27FC236}">
                <a16:creationId xmlns:a16="http://schemas.microsoft.com/office/drawing/2014/main" id="{3F16FD49-9C59-95E6-A6C9-4DD625173FCA}"/>
              </a:ext>
            </a:extLst>
          </p:cNvPr>
          <p:cNvPicPr>
            <a:picLocks noChangeAspect="1"/>
          </p:cNvPicPr>
          <p:nvPr/>
        </p:nvPicPr>
        <p:blipFill rotWithShape="1">
          <a:blip r:embed="rId2"/>
          <a:srcRect t="45736" b="216"/>
          <a:stretch/>
        </p:blipFill>
        <p:spPr>
          <a:xfrm>
            <a:off x="2755784" y="1545691"/>
            <a:ext cx="3937407" cy="3279402"/>
          </a:xfrm>
          <a:prstGeom prst="rect">
            <a:avLst/>
          </a:prstGeom>
        </p:spPr>
      </p:pic>
      <p:pic>
        <p:nvPicPr>
          <p:cNvPr id="16" name="Picture 15">
            <a:extLst>
              <a:ext uri="{FF2B5EF4-FFF2-40B4-BE49-F238E27FC236}">
                <a16:creationId xmlns:a16="http://schemas.microsoft.com/office/drawing/2014/main" id="{F4C2B73C-11E4-DCCB-5863-4F64EC30B42A}"/>
              </a:ext>
            </a:extLst>
          </p:cNvPr>
          <p:cNvPicPr>
            <a:picLocks noChangeAspect="1"/>
          </p:cNvPicPr>
          <p:nvPr/>
        </p:nvPicPr>
        <p:blipFill rotWithShape="1">
          <a:blip r:embed="rId2"/>
          <a:srcRect b="45952"/>
          <a:stretch/>
        </p:blipFill>
        <p:spPr>
          <a:xfrm>
            <a:off x="8254593" y="1545691"/>
            <a:ext cx="3937407" cy="3279402"/>
          </a:xfrm>
          <a:prstGeom prst="rect">
            <a:avLst/>
          </a:prstGeom>
        </p:spPr>
      </p:pic>
      <p:pic>
        <p:nvPicPr>
          <p:cNvPr id="3" name="Picture 2" descr="A person in a suit smiling&#10;&#10;Description automatically generated with low confidence">
            <a:extLst>
              <a:ext uri="{FF2B5EF4-FFF2-40B4-BE49-F238E27FC236}">
                <a16:creationId xmlns:a16="http://schemas.microsoft.com/office/drawing/2014/main" id="{DEF71F7D-3F5E-D491-AA09-B9A2076A628C}"/>
              </a:ext>
            </a:extLst>
          </p:cNvPr>
          <p:cNvPicPr>
            <a:picLocks noChangeAspect="1"/>
          </p:cNvPicPr>
          <p:nvPr/>
        </p:nvPicPr>
        <p:blipFill rotWithShape="1">
          <a:blip r:embed="rId4">
            <a:extLst>
              <a:ext uri="{28A0092B-C50C-407E-A947-70E740481C1C}">
                <a14:useLocalDpi xmlns:a14="http://schemas.microsoft.com/office/drawing/2010/main" val="0"/>
              </a:ext>
            </a:extLst>
          </a:blip>
          <a:srcRect l="15404" t="4069" r="15404" b="49805"/>
          <a:stretch/>
        </p:blipFill>
        <p:spPr>
          <a:xfrm>
            <a:off x="2201899" y="1545691"/>
            <a:ext cx="3291840" cy="3291840"/>
          </a:xfrm>
          <a:prstGeom prst="rect">
            <a:avLst/>
          </a:prstGeom>
        </p:spPr>
      </p:pic>
      <p:pic>
        <p:nvPicPr>
          <p:cNvPr id="8" name="Picture 7" descr="A picture containing person, posing, suit, jacket&#10;&#10;Description automatically generated">
            <a:extLst>
              <a:ext uri="{FF2B5EF4-FFF2-40B4-BE49-F238E27FC236}">
                <a16:creationId xmlns:a16="http://schemas.microsoft.com/office/drawing/2014/main" id="{FF3D574A-2B19-8C4C-AC9D-94F7D456E10E}"/>
              </a:ext>
            </a:extLst>
          </p:cNvPr>
          <p:cNvPicPr>
            <a:picLocks noChangeAspect="1"/>
          </p:cNvPicPr>
          <p:nvPr/>
        </p:nvPicPr>
        <p:blipFill rotWithShape="1">
          <a:blip r:embed="rId5">
            <a:extLst>
              <a:ext uri="{28A0092B-C50C-407E-A947-70E740481C1C}">
                <a14:useLocalDpi xmlns:a14="http://schemas.microsoft.com/office/drawing/2010/main" val="0"/>
              </a:ext>
            </a:extLst>
          </a:blip>
          <a:srcRect l="18009" t="5870" r="5123" b="35652"/>
          <a:stretch/>
        </p:blipFill>
        <p:spPr>
          <a:xfrm>
            <a:off x="6693191" y="1545691"/>
            <a:ext cx="2926056" cy="3291840"/>
          </a:xfrm>
          <a:prstGeom prst="rect">
            <a:avLst/>
          </a:prstGeom>
        </p:spPr>
      </p:pic>
    </p:spTree>
    <p:extLst>
      <p:ext uri="{BB962C8B-B14F-4D97-AF65-F5344CB8AC3E}">
        <p14:creationId xmlns:p14="http://schemas.microsoft.com/office/powerpoint/2010/main" val="31460825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1C215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BB4FA-0C26-63BF-E368-51818BC47DAD}"/>
              </a:ext>
            </a:extLst>
          </p:cNvPr>
          <p:cNvPicPr>
            <a:picLocks noChangeAspect="1"/>
          </p:cNvPicPr>
          <p:nvPr/>
        </p:nvPicPr>
        <p:blipFill rotWithShape="1">
          <a:blip r:embed="rId2"/>
          <a:srcRect l="486" r="39298"/>
          <a:stretch/>
        </p:blipFill>
        <p:spPr>
          <a:xfrm>
            <a:off x="9512187" y="0"/>
            <a:ext cx="2679813" cy="6858000"/>
          </a:xfrm>
          <a:prstGeom prst="rect">
            <a:avLst/>
          </a:prstGeom>
        </p:spPr>
      </p:pic>
      <p:pic>
        <p:nvPicPr>
          <p:cNvPr id="3" name="Picture 2">
            <a:extLst>
              <a:ext uri="{FF2B5EF4-FFF2-40B4-BE49-F238E27FC236}">
                <a16:creationId xmlns:a16="http://schemas.microsoft.com/office/drawing/2014/main" id="{E2E11E99-A81B-C638-28EE-0BC86E7BF2EF}"/>
              </a:ext>
            </a:extLst>
          </p:cNvPr>
          <p:cNvPicPr>
            <a:picLocks noChangeAspect="1"/>
          </p:cNvPicPr>
          <p:nvPr/>
        </p:nvPicPr>
        <p:blipFill rotWithShape="1">
          <a:blip r:embed="rId2"/>
          <a:srcRect l="29541" r="8954"/>
          <a:stretch/>
        </p:blipFill>
        <p:spPr>
          <a:xfrm>
            <a:off x="0" y="0"/>
            <a:ext cx="2737184" cy="6858000"/>
          </a:xfrm>
          <a:prstGeom prst="rect">
            <a:avLst/>
          </a:prstGeom>
        </p:spPr>
      </p:pic>
      <p:sp>
        <p:nvSpPr>
          <p:cNvPr id="10" name="TextBox 9">
            <a:extLst>
              <a:ext uri="{FF2B5EF4-FFF2-40B4-BE49-F238E27FC236}">
                <a16:creationId xmlns:a16="http://schemas.microsoft.com/office/drawing/2014/main" id="{7C123359-7C73-5C0C-3883-B003884F02E2}"/>
              </a:ext>
            </a:extLst>
          </p:cNvPr>
          <p:cNvSpPr txBox="1"/>
          <p:nvPr/>
        </p:nvSpPr>
        <p:spPr>
          <a:xfrm>
            <a:off x="4672326" y="1933494"/>
            <a:ext cx="2847347" cy="2991012"/>
          </a:xfrm>
          <a:prstGeom prst="rect">
            <a:avLst/>
          </a:prstGeom>
          <a:noFill/>
        </p:spPr>
        <p:txBody>
          <a:bodyPr wrap="square" lIns="0" tIns="0" rIns="0" bIns="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88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rPr>
              <a:t>2023</a:t>
            </a:r>
            <a:endParaRPr kumimoji="0" lang="en-US" sz="6600" b="0" i="0" u="none" strike="noStrike" kern="1200" cap="none" spc="0" normalizeH="0" baseline="0" noProof="0">
              <a:ln>
                <a:noFill/>
              </a:ln>
              <a:solidFill>
                <a:srgbClr val="6AABE4"/>
              </a:solidFill>
              <a:effectLst/>
              <a:uLnTx/>
              <a:uFillTx/>
              <a:latin typeface="BentonSans Extra Light" panose="02000503000000020004" pitchFamily="2" charset="0"/>
              <a:ea typeface="+mn-ea"/>
              <a:cs typeface="+mn-cs"/>
            </a:endParaRPr>
          </a:p>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BentonSans Medium" panose="02000603000000020004" pitchFamily="2" charset="0"/>
                <a:ea typeface="+mn-ea"/>
                <a:cs typeface="+mn-cs"/>
              </a:rPr>
              <a:t>EXECUTIV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600" b="0" i="0" u="none" strike="noStrike" kern="1200" cap="none" spc="600" normalizeH="0" baseline="0" noProof="0">
                <a:ln>
                  <a:noFill/>
                </a:ln>
                <a:solidFill>
                  <a:srgbClr val="FFFFFF"/>
                </a:solidFill>
                <a:effectLst/>
                <a:uLnTx/>
                <a:uFillTx/>
                <a:latin typeface="BentonSans Medium" panose="02000603000000020004" pitchFamily="2" charset="0"/>
                <a:ea typeface="+mn-ea"/>
                <a:cs typeface="+mn-cs"/>
              </a:rPr>
              <a:t>BEN</a:t>
            </a:r>
          </a:p>
          <a:p>
            <a:pPr marL="0" marR="0" lvl="0" indent="0" algn="ctr" defTabSz="914400" rtl="0" eaLnBrk="1" fontAlgn="auto" latinLnBrk="0" hangingPunct="1">
              <a:lnSpc>
                <a:spcPct val="50000"/>
              </a:lnSpc>
              <a:spcBef>
                <a:spcPts val="0"/>
              </a:spcBef>
              <a:spcAft>
                <a:spcPts val="0"/>
              </a:spcAft>
              <a:buClrTx/>
              <a:buSzTx/>
              <a:buFontTx/>
              <a:buNone/>
              <a:tabLst/>
              <a:defRPr/>
            </a:pPr>
            <a:r>
              <a:rPr kumimoji="0" lang="en-US" sz="3600" b="0" i="0" u="none" strike="noStrike" kern="1200" cap="none" spc="0" normalizeH="0" baseline="0" noProof="0">
                <a:ln>
                  <a:noFill/>
                </a:ln>
                <a:solidFill>
                  <a:srgbClr val="6AABE4"/>
                </a:solidFill>
                <a:effectLst/>
                <a:uLnTx/>
                <a:uFillTx/>
                <a:latin typeface="BentonSans Light"/>
                <a:ea typeface="+mn-ea"/>
                <a:cs typeface="+mn-cs"/>
              </a:rPr>
              <a:t>Global Forum</a:t>
            </a:r>
          </a:p>
        </p:txBody>
      </p:sp>
    </p:spTree>
    <p:extLst>
      <p:ext uri="{BB962C8B-B14F-4D97-AF65-F5344CB8AC3E}">
        <p14:creationId xmlns:p14="http://schemas.microsoft.com/office/powerpoint/2010/main" val="23935021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mex-Theme1">
  <a:themeElements>
    <a:clrScheme name="Custom 2">
      <a:dk1>
        <a:srgbClr val="001E5F"/>
      </a:dk1>
      <a:lt1>
        <a:srgbClr val="FFFFFF"/>
      </a:lt1>
      <a:dk2>
        <a:srgbClr val="0070CE"/>
      </a:dk2>
      <a:lt2>
        <a:srgbClr val="69AAE3"/>
      </a:lt2>
      <a:accent1>
        <a:srgbClr val="001E5F"/>
      </a:accent1>
      <a:accent2>
        <a:srgbClr val="69AAE3"/>
      </a:accent2>
      <a:accent3>
        <a:srgbClr val="A5A5A5"/>
      </a:accent3>
      <a:accent4>
        <a:srgbClr val="D9D8D6"/>
      </a:accent4>
      <a:accent5>
        <a:srgbClr val="5B9BD5"/>
      </a:accent5>
      <a:accent6>
        <a:srgbClr val="FFFFFF"/>
      </a:accent6>
      <a:hlink>
        <a:srgbClr val="001E5F"/>
      </a:hlink>
      <a:folHlink>
        <a:srgbClr val="FFFFFF"/>
      </a:folHlink>
    </a:clrScheme>
    <a:fontScheme name="Colleague Brand Fonts">
      <a:majorFont>
        <a:latin typeface="BentonSans Light"/>
        <a:ea typeface=""/>
        <a:cs typeface=""/>
      </a:majorFont>
      <a:minorFont>
        <a:latin typeface="BentonSans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mex-Theme1" id="{15876FD9-CE83-4EEB-B1B4-A59B7082730B}" vid="{8E04C693-D0FA-4168-AB92-D160E3A54B3B}"/>
    </a:ext>
  </a:extLst>
</a:theme>
</file>

<file path=ppt/theme/theme2.xml><?xml version="1.0" encoding="utf-8"?>
<a:theme xmlns:a="http://schemas.openxmlformats.org/drawingml/2006/main" name="Amex">
  <a:themeElements>
    <a:clrScheme name="Amex">
      <a:dk1>
        <a:srgbClr val="53565A"/>
      </a:dk1>
      <a:lt1>
        <a:srgbClr val="FFFFFF"/>
      </a:lt1>
      <a:dk2>
        <a:srgbClr val="00175A"/>
      </a:dk2>
      <a:lt2>
        <a:srgbClr val="006FCF"/>
      </a:lt2>
      <a:accent1>
        <a:srgbClr val="006FCF"/>
      </a:accent1>
      <a:accent2>
        <a:srgbClr val="00175A"/>
      </a:accent2>
      <a:accent3>
        <a:srgbClr val="A7A8AA"/>
      </a:accent3>
      <a:accent4>
        <a:srgbClr val="000000"/>
      </a:accent4>
      <a:accent5>
        <a:srgbClr val="D9D9D6"/>
      </a:accent5>
      <a:accent6>
        <a:srgbClr val="53565A"/>
      </a:accent6>
      <a:hlink>
        <a:srgbClr val="006FCF"/>
      </a:hlink>
      <a:folHlink>
        <a:srgbClr val="006FCF"/>
      </a:folHlink>
    </a:clrScheme>
    <a:fontScheme name="Amex">
      <a:majorFont>
        <a:latin typeface="Guardian Egyp Light"/>
        <a:ea typeface=""/>
        <a:cs typeface=""/>
      </a:majorFont>
      <a:minorFont>
        <a:latin typeface="BentonSans Regular"/>
        <a:ea typeface=""/>
        <a:cs typeface=""/>
      </a:minorFont>
    </a:fontScheme>
    <a:fmtScheme name="Amex">
      <a:fillStyleLst>
        <a:solidFill>
          <a:schemeClr val="phClr"/>
        </a:solidFill>
        <a:solidFill>
          <a:schemeClr val="phClr"/>
        </a:solidFill>
        <a:solidFill>
          <a:schemeClr val="phClr"/>
        </a:solidFill>
      </a:fillStyleLst>
      <a:lnStyleLst>
        <a:ln w="6350" cap="sq" cmpd="sng" algn="ctr">
          <a:solidFill>
            <a:schemeClr val="phClr"/>
          </a:solidFill>
          <a:prstDash val="solid"/>
        </a:ln>
        <a:ln w="6350" cap="sq" cmpd="sng" algn="ctr">
          <a:solidFill>
            <a:schemeClr val="phClr"/>
          </a:solidFill>
          <a:prstDash val="solid"/>
        </a:ln>
        <a:ln w="6350" cap="sq" cmpd="sng" algn="ctr">
          <a:solidFill>
            <a:schemeClr val="phClr"/>
          </a:solidFill>
          <a:prstDash val="solid"/>
        </a:ln>
      </a:lnStyleLst>
      <a:effectStyleLst>
        <a:effectStyle>
          <a:effectLst/>
        </a:effectStyle>
        <a:effectStyle>
          <a:effectLst/>
        </a:effectStyle>
        <a:effectStyle>
          <a:effectLst>
            <a:outerShdw blurRad="190500" dist="63500" dir="2700000" algn="br" rotWithShape="0">
              <a:srgbClr val="000000">
                <a:alpha val="40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effectLst>
          <a:softEdge rad="12700"/>
        </a:effectLst>
      </a:spPr>
      <a:bodyPr rtlCol="0" anchor="ctr"/>
      <a:lstStyle>
        <a:defPPr algn="ctr">
          <a:lnSpc>
            <a:spcPct val="100000"/>
          </a:lnSpc>
          <a:defRPr sz="1200" dirty="0" smtClean="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noAutofit/>
      </a:bodyPr>
      <a:lstStyle>
        <a:defPPr marL="171450" indent="-171450">
          <a:lnSpc>
            <a:spcPct val="120000"/>
          </a:lnSpc>
          <a:spcBef>
            <a:spcPts val="900"/>
          </a:spcBef>
          <a:buSzPct val="120000"/>
          <a:buFont typeface="Arial" pitchFamily="34" charset="0"/>
          <a:buChar char="▪"/>
          <a:defRPr sz="1200"/>
        </a:defPPr>
      </a:lstStyle>
    </a:txDef>
  </a:objectDefaults>
  <a:extraClrSchemeLst/>
  <a:custClrLst>
    <a:custClr name="Bright Blue">
      <a:srgbClr val="006FCF"/>
    </a:custClr>
    <a:custClr name="Deep Blue">
      <a:srgbClr val="00175A"/>
    </a:custClr>
    <a:custClr name="White">
      <a:srgbClr val="FFFFFF"/>
    </a:custClr>
    <a:custClr name="Black">
      <a:srgbClr val="000000"/>
    </a:custClr>
    <a:custClr name="Gray 1">
      <a:srgbClr val="D9D9D6"/>
    </a:custClr>
    <a:custClr name="Gray 2">
      <a:srgbClr val="D0D0CE"/>
    </a:custClr>
    <a:custClr name="Gray 3">
      <a:srgbClr val="C8C9C7"/>
    </a:custClr>
    <a:custClr name="Gray 4">
      <a:srgbClr val="BBBCBC"/>
    </a:custClr>
    <a:custClr name="Gray 5">
      <a:srgbClr val="B1B3B3"/>
    </a:custClr>
    <a:custClr name="Gray 6">
      <a:srgbClr val="A7A8AA"/>
    </a:custClr>
    <a:custClr name="Gray 7">
      <a:srgbClr val="97999B"/>
    </a:custClr>
    <a:custClr name="Gray 8">
      <a:srgbClr val="888B8D"/>
    </a:custClr>
    <a:custClr name="Gray 9">
      <a:srgbClr val="75787B"/>
    </a:custClr>
    <a:custClr name="Gray 10">
      <a:srgbClr val="63666A"/>
    </a:custClr>
    <a:custClr name="Gray 11">
      <a:srgbClr val="53565A"/>
    </a:custClr>
  </a:custClrLst>
  <a:extLst>
    <a:ext uri="{05A4C25C-085E-4340-85A3-A5531E510DB2}">
      <thm15:themeFamily xmlns:thm15="http://schemas.microsoft.com/office/thememl/2012/main" name="Amex Business PowerPoint 16x9 07Mar2018" id="{CC8209D2-8CC8-5A4C-B83C-636E8278D0EA}" vid="{D2820C30-69CF-2D46-AF3C-255D58BA1AC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19FB1C2EB1974AB4FAC4FA36BA34ED" ma:contentTypeVersion="16" ma:contentTypeDescription="Create a new document." ma:contentTypeScope="" ma:versionID="93f23a9223a969f434535843f1acaf57">
  <xsd:schema xmlns:xsd="http://www.w3.org/2001/XMLSchema" xmlns:xs="http://www.w3.org/2001/XMLSchema" xmlns:p="http://schemas.microsoft.com/office/2006/metadata/properties" xmlns:ns2="ab165509-2552-4397-844d-86a370829812" xmlns:ns3="555adbf1-dd74-4b81-a325-aa7d50730eca" targetNamespace="http://schemas.microsoft.com/office/2006/metadata/properties" ma:root="true" ma:fieldsID="942e9f45b8d92ed406616c4de59e391f" ns2:_="" ns3:_="">
    <xsd:import namespace="ab165509-2552-4397-844d-86a370829812"/>
    <xsd:import namespace="555adbf1-dd74-4b81-a325-aa7d50730eca"/>
    <xsd:element name="properties">
      <xsd:complexType>
        <xsd:sequence>
          <xsd:element name="documentManagement">
            <xsd:complexType>
              <xsd:all>
                <xsd:element ref="ns2:Open_x0020_with_x0020_Seclore" minOccurs="0"/>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LengthInSeconds" minOccurs="0"/>
                <xsd:element ref="ns2:MediaServiceDateTaken" minOccurs="0"/>
                <xsd:element ref="ns2:MediaServiceOCR" minOccurs="0"/>
                <xsd:element ref="ns2:MediaServiceGenerationTime" minOccurs="0"/>
                <xsd:element ref="ns2:MediaServiceEventHashCode"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b165509-2552-4397-844d-86a370829812" elementFormDefault="qualified">
    <xsd:import namespace="http://schemas.microsoft.com/office/2006/documentManagement/types"/>
    <xsd:import namespace="http://schemas.microsoft.com/office/infopath/2007/PartnerControls"/>
    <xsd:element name="Open_x0020_with_x0020_Seclore" ma:index="8" nillable="true" ma:displayName="Open with Seclore" ma:hidden="true" ma:internalName="Open_x0020_with_x0020_Seclore">
      <xsd:simpleType>
        <xsd:restriction base="dms:Text"/>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de466b6-51d3-4163-b644-6f4f28f1a60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55adbf1-dd74-4b81-a325-aa7d50730eca"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9fbbbdb4-b6c1-479f-9f34-ec8357baadea}" ma:internalName="TaxCatchAll" ma:showField="CatchAllData" ma:web="555adbf1-dd74-4b81-a325-aa7d50730ec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555adbf1-dd74-4b81-a325-aa7d50730eca" xsi:nil="true"/>
    <Open_x0020_with_x0020_Seclore xmlns="ab165509-2552-4397-844d-86a370829812" xsi:nil="true"/>
    <lcf76f155ced4ddcb4097134ff3c332f xmlns="ab165509-2552-4397-844d-86a370829812">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F6F3096-C32A-4707-844E-610873A2065B}">
  <ds:schemaRefs>
    <ds:schemaRef ds:uri="555adbf1-dd74-4b81-a325-aa7d50730eca"/>
    <ds:schemaRef ds:uri="ab165509-2552-4397-844d-86a37082981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62ECDF3-576F-44FF-9C99-3A70A995CF58}">
  <ds:schemaRefs>
    <ds:schemaRef ds:uri="555adbf1-dd74-4b81-a325-aa7d50730eca"/>
    <ds:schemaRef ds:uri="ab165509-2552-4397-844d-86a37082981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B77B383B-8382-4BF6-BAB2-D85DCBD1B04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mex-Theme1</Template>
  <TotalTime>0</TotalTime>
  <Words>815</Words>
  <Application>Microsoft Office PowerPoint</Application>
  <PresentationFormat>Widescreen</PresentationFormat>
  <Paragraphs>175</Paragraphs>
  <Slides>44</Slides>
  <Notes>0</Notes>
  <HiddenSlides>0</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1</vt:i4>
      </vt:variant>
      <vt:variant>
        <vt:lpstr>Slide Titles</vt:lpstr>
      </vt:variant>
      <vt:variant>
        <vt:i4>44</vt:i4>
      </vt:variant>
    </vt:vector>
  </HeadingPairs>
  <TitlesOfParts>
    <vt:vector size="64" baseType="lpstr">
      <vt:lpstr>Arial</vt:lpstr>
      <vt:lpstr>Benton Sans Book</vt:lpstr>
      <vt:lpstr>Benton Sans Light</vt:lpstr>
      <vt:lpstr>BentonSans Bold</vt:lpstr>
      <vt:lpstr>BentonSans Book</vt:lpstr>
      <vt:lpstr>BentonSans Extra Light</vt:lpstr>
      <vt:lpstr>BentonSans Light</vt:lpstr>
      <vt:lpstr>BentonSans Medium</vt:lpstr>
      <vt:lpstr>BentonSans Regular</vt:lpstr>
      <vt:lpstr>BentonSansCond Bold</vt:lpstr>
      <vt:lpstr>Calibri</vt:lpstr>
      <vt:lpstr>Calibri Light</vt:lpstr>
      <vt:lpstr>Georgia</vt:lpstr>
      <vt:lpstr>Guardian Egyp</vt:lpstr>
      <vt:lpstr>Guardian Egyp Light</vt:lpstr>
      <vt:lpstr>1_Amex-Theme1</vt:lpstr>
      <vt:lpstr>Amex</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trategies for Career Transitions</vt:lpstr>
      <vt:lpstr>By The Numbers</vt:lpstr>
      <vt:lpstr>Self-Assessment</vt:lpstr>
      <vt:lpstr>PowerPoint Presentation</vt:lpstr>
      <vt:lpstr>Continuous Learning</vt:lpstr>
      <vt:lpstr>PowerPoint Presentation</vt:lpstr>
      <vt:lpstr>PowerPoint Presentation</vt:lpstr>
      <vt:lpstr>Summary</vt:lpstr>
      <vt:lpstr>PowerPoint Presentation</vt:lpstr>
      <vt:lpstr>PowerPoint Presentation</vt:lpstr>
      <vt:lpstr>PowerPoint Presentation</vt:lpstr>
      <vt:lpstr>PowerPoint Presentation</vt:lpstr>
      <vt:lpstr>Authentic leadership: what does it mean as a concept throughout our career?</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mi Shepley</dc:creator>
  <cp:lastModifiedBy>Liz Cole</cp:lastModifiedBy>
  <cp:revision>3</cp:revision>
  <dcterms:created xsi:type="dcterms:W3CDTF">2023-04-26T18:25:51Z</dcterms:created>
  <dcterms:modified xsi:type="dcterms:W3CDTF">2023-05-16T15:40: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XPAuthor">
    <vt:lpwstr>Brittany Brown</vt:lpwstr>
  </property>
  <property fmtid="{D5CDD505-2E9C-101B-9397-08002B2CF9AE}" pid="3" name="AXPDataClassification">
    <vt:lpwstr>AXP Internal</vt:lpwstr>
  </property>
  <property fmtid="{D5CDD505-2E9C-101B-9397-08002B2CF9AE}" pid="4" name="AXPDataClassificationForSearch">
    <vt:lpwstr>AXPInternal_UniqueSearchString</vt:lpwstr>
  </property>
  <property fmtid="{D5CDD505-2E9C-101B-9397-08002B2CF9AE}" pid="5" name="ContentTypeId">
    <vt:lpwstr>0x0101004419FB1C2EB1974AB4FAC4FA36BA34ED</vt:lpwstr>
  </property>
</Properties>
</file>